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54"/>
  </p:notesMasterIdLst>
  <p:handoutMasterIdLst>
    <p:handoutMasterId r:id="rId55"/>
  </p:handoutMasterIdLst>
  <p:sldIdLst>
    <p:sldId id="325" r:id="rId12"/>
    <p:sldId id="356" r:id="rId13"/>
    <p:sldId id="390" r:id="rId14"/>
    <p:sldId id="391" r:id="rId15"/>
    <p:sldId id="393" r:id="rId16"/>
    <p:sldId id="434" r:id="rId17"/>
    <p:sldId id="446" r:id="rId18"/>
    <p:sldId id="400" r:id="rId19"/>
    <p:sldId id="435" r:id="rId20"/>
    <p:sldId id="436" r:id="rId21"/>
    <p:sldId id="437" r:id="rId22"/>
    <p:sldId id="392" r:id="rId23"/>
    <p:sldId id="443" r:id="rId24"/>
    <p:sldId id="440" r:id="rId25"/>
    <p:sldId id="441" r:id="rId26"/>
    <p:sldId id="457" r:id="rId27"/>
    <p:sldId id="458" r:id="rId28"/>
    <p:sldId id="438" r:id="rId29"/>
    <p:sldId id="439" r:id="rId30"/>
    <p:sldId id="442" r:id="rId31"/>
    <p:sldId id="413" r:id="rId32"/>
    <p:sldId id="426" r:id="rId33"/>
    <p:sldId id="427" r:id="rId34"/>
    <p:sldId id="431" r:id="rId35"/>
    <p:sldId id="425" r:id="rId36"/>
    <p:sldId id="453" r:id="rId37"/>
    <p:sldId id="402" r:id="rId38"/>
    <p:sldId id="407" r:id="rId39"/>
    <p:sldId id="403" r:id="rId40"/>
    <p:sldId id="460" r:id="rId41"/>
    <p:sldId id="444" r:id="rId42"/>
    <p:sldId id="454" r:id="rId43"/>
    <p:sldId id="455" r:id="rId44"/>
    <p:sldId id="456" r:id="rId45"/>
    <p:sldId id="445" r:id="rId46"/>
    <p:sldId id="447" r:id="rId47"/>
    <p:sldId id="449" r:id="rId48"/>
    <p:sldId id="448" r:id="rId49"/>
    <p:sldId id="452" r:id="rId50"/>
    <p:sldId id="389" r:id="rId51"/>
    <p:sldId id="387" r:id="rId52"/>
    <p:sldId id="459" r:id="rId53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29"/>
    <p:restoredTop sz="94762"/>
  </p:normalViewPr>
  <p:slideViewPr>
    <p:cSldViewPr snapToGrid="0">
      <p:cViewPr varScale="1">
        <p:scale>
          <a:sx n="121" d="100"/>
          <a:sy n="121" d="100"/>
        </p:scale>
        <p:origin x="760" y="1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11/23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8:25.26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4893 6558 24575,'36'-9'0,"-3"-1"0,-20 2 0,4-1 0,-8 4 0,4-3 0,-5 4 0,4-1 0,-3-2 0,8 2 0,2 1 0,0-4 0,9 7 0,-4-8 0,11 3 0,-4 1 0,11-5 0,-12 9 0,12-9 0,-11 9 0,10-4 0,-10 5 0,10-4 0,-4 2 0,5-2 0,1 4 0,0 0 0,6 0 0,-4 0 0,26 0 0,-22 0 0,23 0 0,-14 0 0,2 0 0,13 0 0,-6 0 0,0 0 0,6 5 0,-14-4 0,31 11 0,-18-10 0,-23 4 0,1 0-562,44-5 562,-42 5 0,0 0 0,5-2 0,0 0 0,0 3 0,-1 0 0,1 0 0,0 0 0,1 0 0,-3 0 0,34 6 0,-35-6 0,0 0 0,44 7 0,-7-1 0,-27-6 0,-1 0 0,19 6 0,-26-6 0,0 0 0,37 6 0,-42-6 0,0 0 0,44 6 0,-39-6 0,0 0 0,-4 0 0,0 0 0,5 0 0,-1 0 0,32 6 0,-17-6 0,-3 1 0,-3 3 0,-2-6 0,2-1 0,25 7 0,8-3 0,-46-2 0,-1 2 0,40 5 0,-6-6 0,8 4 0,-15-9 0,11 10 0,7-4 0,-14-1 0,-18-3 0,-1-1 0,20-3 0,-28 0 0,2 0 0,36 0 0,-42 0 0,0 0 0,45 0 0,-41 0 0,1 0 0,-4 0 0,0 0 0,5 0 0,0 0 0,0 0 0,-1 0 0,1 0 0,0 0 0,-1 0 0,2 0 0,3 0 0,1 0-492,6 0 0,0 0 278,1 0 0,1 0 214,8 0 0,0 0 0,-4 0 0,1 0-492,10 0 0,1 0 70,-5 0 1,0 0 421,10 0 0,0 0 0,-4 0 0,-1 0 0,7 0 0,-1 0 0,1 0 0,-1 0 0,-4 4 0,-2-1 0,-6-2 0,0 0 0,-1 2 0,-2 1 0,-8 0 0,0-1-492,4-2 0,-1-1 415,-4 4 0,0-1 77,0-2 0,-1-2 0,-3 1 0,-2 0-119,0 0 0,0 0 119,-6 0 0,1 0 0,5 0 0,-1 0 0,-3 0 0,0 0 0,9 0 0,0 0 0,-5 0 0,1 0 0,5 0 0,0 0-79,5 0 0,0 0 79,1 0 0,1 0 0,-1 0 0,1 0 0,3 0 0,0 0 0,-8 0 0,-2 0 0,6 0 0,-1 0 0,-10 0 0,-1 0 424,5 0 1,-1 0-425,-6 0 0,-4 0 0,36 0 0,-23 0 0,0 0 0,12 0 0,-11 1 0,3-2 0,22-5 0,-40 3 0,1-2 0,-4-4 0,1-2 0,8 0 0,1-1 0,-4-2 0,0 0 0,14-1 0,0-1-37,-8-2 1,0 0 36,10 1 0,-2 1 0,-21-1 0,-1 0 0,27-2 0,-5 0 351,-7-7-351,-1 5 0,1 0 0,5-11 0,-19 9 0,1-2 0,-7 1 0,-1 0 0,7 1 0,-1-3 0,31-31 0,-34 32 0,1-1 0,-3-7 0,0-1 0,5 4 0,0 1 349,0-5 0,-1-1-349,1 3 0,-1-1 0,-3-1 0,-1-1 0,0 1 0,-2 0 0,-4-3 0,-4 1 0,22-17 0,-15 6 0,-1-1 0,8-9 0,-9 5 0,0-3 0,13-28 0,-24 34 0,-1-2 0,-3 3 0,-1-1 0,4-3 0,-1-1 0,-5 1 0,-1 0 0,4 0 0,-2-1 0,-4-2 0,-2-1 0,-3 3 0,-1 1 0,-2 0 0,-2-1 0,-2-2 0,0-1 0,0 3 0,0 1 0,1-30 0,-5 18 0,0 2 0,-3-1 305,0 4 1,0 0-306,0-11 0,0-21 0,0 14 0,-11-6 0,-2 16 0,-12-6 0,-4 13 0,-11-23 0,2 12 0,-14-9 0,6 5 0,-6 3 0,-1-8 726,-6 0-726,-2 6 0,28 34 0,0 1 0,-34-29 0,0-4 0,1-1 0,-7 5 0,40 29 0,-2 0 0,-5 1 0,0 0 0,3 1 0,-1-1 0,-3-3 0,-2-1 0,-3-1 0,0 0 0,-3-2 0,1 0 0,2 2 0,-2 0-420,-8-3 0,-1 1 420,9 5 0,0 0 0,-14-7 0,-2-1 0,6 0 0,-1 2 0,-2 3 0,-2 0-485,-4-4 1,0 1 484,5 3 0,-1 0 0,-13-6 0,-1 0 0,8 0 0,-1 1 0,-7 3 0,0-1 0,5-1 0,1 1 0,4 6 0,1 1 0,1-4 0,1 2-386,4 7 0,2 1 386,3-4 0,0 2 0,-1 9 0,0 0 0,2-2 0,0 1 0,-2 5 0,-1 2 0,-4-3 0,-2 2 0,-9 1 0,-3 1-492,0-1 0,-2 2 411,-13 0 1,-2 2 80,-1-1 0,0 1 0,0-1 0,-1 0-492,-5-1 0,1 1 471,-1 4 1,1 0 20,5 1 0,-2 0 0,26 3 0,-1 0 0,0 1 0,-29-2 0,0 1 0,29 0 0,-1 0 0,0 1 0,1 4 0,0 2 0,-1-1 0,1-3 0,-1 0 0,0 2 0,-4 3 0,0 1 0,0-1 0,3-4 0,0-1 0,0 1-328,-7 4 1,-1 1-1,1-1 328,2-1 0,1-2 0,0 2 0,0 2 0,0 0 0,-1 0 0,2 0 0,0 0 0,0 0-321,4 0 0,0 0 0,1 0 321,3 0 0,0 0 0,0 0 0,-2 0 0,-1 0 0,2 0 0,-27 0 0,2 0 0,-5 0 0,0 0 0,10 0 0,3 0 305,3 0 0,3 0-305,19 0 0,1 0 0,-17 0 0,1 0 0,23 0 0,0 0 0,-20 0 0,-1 0 0,15 0 0,2 0 0,-1 0 0,0 0 0,0 0 0,1 0 0,-1 0 0,0 0 0,1 0 0,-2 0 0,-3 0 0,-1 0 0,0 0 0,-2 0 0,-3 0 0,-1 0 0,5 0 0,0 0 0,-4 0 0,0 0 0,9 0 0,1 0 0,-5 0 0,0 0 0,6 0 0,-1 0 0,0 0 0,1 0 0,-1 0 0,0 0 0,0 0 0,0 0 0,1 0 0,0 0 0,-1 0 0,0 0 0,1 0 0,-1 0 0,1 0 0,-1 0 491,0 0 1,0 0-304,-4 0 0,0 0-188,-2 0 0,0 0 0,1 0 0,0 0 0,-5 3 0,1 1 491,3-4 1,0 2-179,-5 4 1,0 1-314,-5-3 0,0 1 0,3 2 0,1 1 0,-4 0 0,0-1 0,5 1 0,1-1 0,-1 1 0,1-1 0,4 1 0,0-1 0,1-3 0,1 0 0,3 2 0,2 1 983,-26-1 0,-15 1-742,35 4-241,-21-10 0,8 4 0,8-5 983,2 6-905,13-5 595,-4 4-673,5-5 983,-7 0-739,-24 0-244,24 0 0,-30 5 0,28-3 0,-15 3 0,1 1 0,-1-5 0,1 10 0,-1-9 0,1 3 0,-1 0 0,-17-3 0,13 9 0,1-10 0,-1 11-419,-1-5 419,-16 7 0,45-8 0,0 1 0,-43 6 0,17-5 0,-12 4 0,20-5 0,-14 0 0,8 4 0,-8-4 0,14 0 0,-12 4 0,14-4 0,-8 0 0,8 4 0,-5-5 0,4 6 0,-6 1 0,-1-1 0,0 0 0,8-5 0,-6 4 0,14-4 0,-6 5 0,-1 0 0,13-1 542,-11 1-542,13-1 0,0 0 0,-5-5 0,11 4 0,-11-4 0,5 5 0,-1-5 0,-4 5 0,5-5 0,-7 6 0,0-1 0,7 0 0,-5 1 0,11-6 0,-4 4 0,12-5 0,-5 1 0,5 3 0,-5-3 0,-1 0 0,-7 4 0,6-4 0,-13 5 0,6 0 0,0-4 0,1 3 0,1-4 0,-3 5 0,2 0 0,-7 0 0,6 0 0,-6 1 0,-1-1 0,0 1 0,-8 0 0,-1 0 0,0 0 0,-5 0 0,13-1 0,-14 7 0,7-5 0,-1 5 0,-6-6 0,13-5 0,-12 4 0,12-10 0,-12 4 0,12 1 0,-6-5 0,9 4 0,-1-5 0,0 0 0,1 5 0,-1-4 0,0 5 0,1-1 0,-1-4 0,0 4 0,0 0 0,0-4 0,0 10 0,0-10 0,-7 9 0,6-3 0,-6 0 0,0 3 0,5-9 0,-4 10 0,-1-10 0,5 4 0,-12 1 0,12-5 0,-6 5 0,9-6 0,-1 0 0,0 0 0,0 0 0,0 0 0,1 0 0,-1 0 0,-15 0 0,18 0 0,-25 0 0,20 0 0,-7 0 0,-5 0 0,5 0 0,0 0 0,-6 0 0,14 0 0,-7 0 0,8 0 0,0 0 0,0 0 0,1 0 0,6 0 0,-5 0 0,5 0 0,0 0 0,-5 0 0,12 0 0,-13 0 0,14 0 0,-14 0 0,6 0 0,0 0 0,-5 0 0,11 0 0,-11 0 0,5 0 0,-23 0 0,19 0 0,-23 0 0,9 0 0,7 0 0,-26 0 0,9 0 0,5 0 0,-14 0 0,19 0 0,-7 0 0,0 0 0,4 0 0,12 0 0,-12 0 0,12 0 0,-5 0 0,7 0 0,1 0 0,0 0 0,0 0 0,-1-6 0,0 5 0,0-4 0,7 5 0,1-5 0,7 4 0,-6-4 0,5 5 0,-6 0 0,1-5 0,5 4 0,-6-4 0,8 0 0,-1 4 0,7-4 0,-5 1 0,10 2 0,-4-7 0,5 8 0,1-8 0,4 8 0,2-3 0,5 0 0,-5 3 0,4-3 0,-4 0 0,5 3 0,-5-3 0,4 4 0,-9 0 0,8-4 0,-8 3 0,-2-3 0,-7 4 0,0 0 0,-11 0 0,9 0 0,-17 0 0,-10 0 0,11 0 0,-9 0 0,14 0 0,6 0 0,-5 0 0,6 0 0,1 0 0,5 0 0,-5 0 0,16 0 0,-8 4 0,10-3 0,-1 4 0,-3-5 0,9 0 0,-9 0 0,3 0 0,-17 5 0,-10 1 0,-8 6 0,-30 1 0,19-1-271,21-3 1,0 2 270,-35 9 0,-8 6 0,0 1 0,23-8 0,17-2 0,-1-1 0,-21 6 0,-15 10 0,11-7 0,10-1 0,0 0 0,-4 1 0,15-2 0,7-5 0,1 3 0,7-5 541,6 5-541,-4 0 0,15-2 0,-3-4 0,15-2 0,2-5 0,4 0 0,-1 0 0,5 1 0,-8-1 0,1 9 0,-7 4 0,-17 30 0,-2-1 0,-8 13 0,-10 5-492,22-25 0,0 0 477,-2 0 0,0 0 15,2 0 0,1 0-336,-25 33 336,10-3 0,2 0 0,-1 10 0,15-16 0,-4 1 0,15 4 0,-7-12 0,13 5 0,-2-8 0,9-6 0,-3 6 983,9-13-970,-5 12 341,6-5-354,0 0 0,0 5 0,0-5 0,0 0 0,0-2 0,0-6 0,0 0 0,0-6 0,0 4 0,5-10 0,5 4 0,5-5 0,10 0 0,1 1 0,13 2 0,1 1 0,6 1 0,23 8 0,-12-11 0,12 5 0,-13-9 0,2 2 0,2 5 0,-14-9 0,0 1 0,12 6 0,26 19 0,-5-6 0,-21-12 0,-12-8 0,0 0 0,6 3 0,21 8 0,-13-2 0,5 1 0,-7-7 0,0-1 0,-1 1 0,-6-6 0,6 5 0,-13-6 0,12 1 0,-12-2 0,12-3 0,-4 3 0,5-3 0,17 13 0,-25-12 0,29 11 0,-24-18 0,21 12 0,-8-6 0,23 8 0,-33-7 0,32 5 0,-29-5 0,15 0-265,-25-6 1,1 0 264,31 7 0,-27-9 0,0 0 0,30 13 0,0-9 0,-10 3 0,-25-8 0,0 0 0,16 4 0,-3-3 0,1-1 0,19 3 0,-28-6 0,2 0 0,-6 0 0,0-1 0,0-1 0,2-2 0,8 0 0,2 0-492,-1-3 0,2 0 378,3 0 1,1 0 113,5 0 0,0 0-492,1 0 0,1 0 137,10 0 0,1 0 355,0 0 0,1 0-492,6 0 0,-1 0 46,1 0 0,-1 0 446,0 1 0,1-2 0,-1-2 0,0-1 0,1-1 0,-1 0 0,-4-3 0,-2 0 0,0-1 0,-2 1 0,-9 4 0,-1-1-368,-1-2 0,0 1 368,-5 1 0,0 1 0,-6 0 0,1 0 74,4 0 1,-1 1-75,-7 3 0,-2 0 0,1 0 0,-2 0 983,31 0-634,2 0-349,-20 0 0,22 0 0,-14 0 0,5 0 0,-14 0 983,-3 0 0,0 0 0,-5 0-555,5 0 555,-7 0-928,7 0-55,19 0 0,-5 0 0,-2 0 0,21 0 0,-45 0 0,0 2 0,1 2 0,8 3 0,21 6 0,-8-1 0,-1 0 0,1 1 0,-1-1 0,1 0 0,8 7 0,-14-5-161,-20-5 1,0 1 160,31 8 0,0-4 0,-27-4 0,0 0 0,23 8 0,13-3 0,-1 4 0,2 0 0,-15-5 0,-22-3 0,0-1 0,37 2 0,7 2 0,-45-8 0,0 1 0,39 13 0,3-6 0,2 11 0,-45-17 0,0 0 0,42 11 0,-22-7 0,-12-2 0,-1 1 0,-2 2 0,12 1 0,-1 1 0,-14-2 0,9-3 0,2 1 0,11 1 0,14 1 0,-1 0 0,-9-1 0,-5 1 0,22 0 0,-6 0 0,-1 0 0,-33-9 0,-2 0 0,16 6 0,-16-5 0,0-2 0,6 4 0,-8 0 0,2-1 0,17 1 0,14 6 0,-2 0 0,-9-1 0,1 1 0,-1-1 0,-7 0 0,6 0 0,-13 0 0,5 0 0,-14-1 0,5 0 471,-4 0-471,5 1 0,1-1 0,0 1 0,7 0 0,-5-1 0,5 1 0,0 0 0,-5 0 0,13 0 0,-14 5 0,7-4 0,-9 9 0,-3-10 0,3 4 0,-4 0 0,-1-3 0,4 8 0,-5-8 0,6 3 0,1-4 0,0-1 0,0 1 0,-1-1 0,-6 1 0,-1-1 0,-7-6 0,-7 0 0,-5-1 0,-8-3 0,-10 3 0,0-4 0,-5 0 0,0 0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9:39.68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9881 6683 24575,'-12'-22'0,"1"5"0,4 17 0,2-3 0,-9 2 0,12-7 0,-12 8 0,6-4 0,-1 1 0,-2-2 0,7-2 0,36-1 0,10 3 0,35 2 0,-17 3 0,19 0 0,-16 0 0,20 0 0,-9 0 0,1 0 0,-8 0 0,-2 5 0,-7 2 0,0 4 0,-1 1 0,1-1 0,0-5 0,7 5 0,2-10 0,-6 5 0,27-6 0,-23 0 0,-16 0 0,2 0 0,18 0 0,29 0 0,-34 0 0,26 0 0,-15 0 0,2 0 0,6 0-216,-32 0 1,0 0 215,30 0 0,-27 0 0,1 0 0,39 0 0,2 0 0,-41 0 0,1 0 0,-4 0 0,0 0 0,5 0 0,0 0-410,4 0 1,1 0 409,-4 0 0,0 0 0,8 0 0,1 0 0,-4 0 0,0 0-492,4 0 0,1 0 392,0 0 0,0 0 100,0 0 0,-1 0 0,2 0 0,-2 0 0,-4 0 0,0 0 0,5 0 0,-3 0 0,26 0 0,-16 0 0,-1 0 0,14 0-268,-29 0 0,0 0 268,30 0 0,-11 0 0,7 5 0,-2-3 0,-9 9 0,0-4 376,-7 5-376,6 0 762,-14-6-762,14 5 0,-6-9 0,8 9 0,0-10 0,-8 10 0,32-10 0,-39 9 0,-3-10 0,-1 1 0,-5 9 0,36-9 0,0 3 663,-5-4-663,-28 0 0,2 0 0,28 0 0,9 0 0,0 0 0,1 0 0,-44 0 0,2 0 0,-1 0 0,2 0 0,8 0 0,2 0-218,0 0 0,-1 0 218,1 0 0,0 0 0,4 0 0,-1 0 0,-2 0 0,-2 0 0,1 0 0,0 0 0,-1 1 0,-1-2 0,-4-1 0,0-2 0,0 1 0,-1-2 0,1-1 0,0-2 0,0 1 0,0 0 0,0 0 0,-1 0-262,33-6 262,9-1 0,-20-5 0,7 5 0,-3-5 0,-7 7 0,-1-1 0,1-5 0,0 4 0,-8-3 0,5 4 0,-12-4 0,13 4 540,-6-5-540,0 6 983,6-6-923,-13 5 224,12-5-284,-12 6 0,5 0 0,-7 6 0,-7-4 0,-2 4 0,-6-5 0,-6 1 0,4-1 0,-4 1 0,12-7 0,10-1 0,8-1 0,-7-3 0,3 9 0,-19-7 0,0 8 0,-9-3 0,-5 5 0,-10 1 0,-3 0 0,-4 0 0,-4 1 0,7-5 0,-6 0 0,8-10 0,-8-2 0,9-10 0,-2-2 0,4-6 0,2-14 0,-6 10 0,1-32 0,-7 24 0,2-26 0,0-4 0,-1 6 0,1-5-227,-9 33 1,-1 2 226,2-11 0,-5-38 0,0 29 0,0-8 0,0 22 0,0 0 0,0-12 0,1 9 0,-2 0 0,-11-15 0,4-7 0,-4 25 0,-2 3 0,1-1 0,0 0 0,-1 0 0,-5-10 0,-1-28 0,-4 14 0,10-14 0,-10 14 0,10 2 0,-9 2 0,9 13 0,-8-5 0,9 7 0,-9 0 0,4 0 0,0 0 453,-4 7-453,5-5 0,0 11 0,-4-4 0,9 12 0,-8-5 0,4 11 0,-4-4 0,-1 0 0,2 4 0,-2-5 0,-5-1 0,4 6 0,-10-7 0,5 0 0,-6 5 0,-6-12 0,-10-4 0,7 12 0,-11-15 0,12 10 0,-12-8 0,-12-13-551,-1 4 551,-7-7 0,1-1 0,31 32 0,-1 1 0,-3 0 0,-1-1 0,-3-1 0,-1 1-470,-3 3 0,0-1 470,3-2 0,-1 1 0,-6 4 0,2 2 0,-23-26 0,28 26 0,0 2 0,-23-14 0,-14-6 0,36 22 0,1 1 0,-37-18 0,36 20 0,0 1 0,4 0 0,0 1 0,-3 4 0,-2 1 0,1-3 0,-2 0 0,-9 2 0,0 1 0,4 0 0,0 0 0,-4-1 0,1 0 0,3 1 0,2 0 0,-33-7 0,24 7 0,2 0 0,1-4-174,3 3 1,1 1 173,-5-4 0,-20-6 0,8 4 0,1-5 0,-1 6 0,0-5 0,8 6 0,-14-2 0,19-2 0,-19 2 0,14 2 0,-8-6 0,0 10 0,8-3 0,2-1 515,7 6-515,0-5 948,0 5-948,7 1 375,-6 4-375,13-2 0,-13 2 0,13 1 0,-5-4 0,6 5 0,-6-1 0,4-4 0,-11 4 0,4-6 0,1 6 0,-5-4 0,5 3 0,-7-5 0,7 1 0,-5 0 0,5 0 0,-7-1 0,0 0 0,0 6 0,0-5 0,0 5 0,-7-6 0,-2 5 0,-1-3 0,-13 2 0,12 2 0,-14-6 0,9 11 0,-18-11 0,21 11 0,-19-11 0,23 10 0,16-4 0,0 0 0,-16 4 0,13-4 0,1 0 0,-9-1 0,7 0 0,0 0 0,-13-1 0,-30-4 0,10-3-823,-1 0 823,33 5 0,0-1 0,-37-2 0,0 6 0,43 1 0,-1 0 0,-45-2 0,45 2 0,0-2 0,-1 1 0,1 1 0,-22-2 0,11 1 0,-2 1 0,-14-2 0,18 1 0,-3-1 0,11 2 0,2-1 0,-45-7 0,43 7 0,1 1 0,-42-8 0,41 7 0,2 0 0,-23 0 0,11-3 0,0 0 0,-16 6 0,18-6 0,-1 1 0,-32 7 0,-1-10 0,2 11 0,41-5 0,-1 0 0,-43 4 0,44-1 0,0 0 0,0 2 0,0 2 0,-45-1 0,45-3 0,0 0 0,-43 1 0,43-1 0,0 0 0,-44 3 0,43 0 0,2 0-327,-21 0 327,11-3 0,3-1 0,1 3 0,-11-6 0,-2 0 0,-6 5 0,19-1 0,0-1 0,-38-2 0,1 5 0,0-5 0,43 3 0,-1 0-409,-1 2 1,0 0 408,-9-2 0,-1 0 0,4 0 0,0 0 0,-3 2 0,-1 0 0,1-2 0,-1 0 0,-1-1 0,1 1 0,-1 2 0,0 0 0,1-2 0,1 0 0,3-1 0,2 1 0,-32 2 0,18-6 0,1 0 0,-18 5 0,31-1 0,0-1 0,-32-2 0,25 4 0,-28-10 0,14 11 0,-6-5 0,9 0 775,6 5-775,3-10 326,0 10-326,5-4 866,-6 0-866,8 3 0,7-3 0,-5 5 0,12 0 0,-6-5 0,7 4 0,0-4 0,-6 5 0,4 0 0,-11 0 0,5 0 0,-32 0 0,12 0 0,-7 0 0,7 0 0,10 0 0,-14 0 0,-8 0 0,6 0 0,-6 0 0,-7 0 0,26 0 0,-31 0 0,33 0 0,-21 0 0,8 0 0,0 0 0,8 0 0,-6 0 0,6 0 0,0 0 0,-6 0 0,6 0 0,0 0 0,-6 0 0,13 0 0,-5 0 0,7 0 0,0 0 0,0 0 0,0 0 0,7 0 0,-5 0 0,5 0 0,-7 0 0,0 0 0,7 0 0,-5 0 0,17 0 0,-9 0 0,17 0 0,-4 0 0,10 0 0,7 0 0,1 0 0,7 0 0,-2 0 0,-1 0 0,-5 0 0,-1 0 0,-5 0 0,1 0 0,4 4 0,-4-3 0,5 3 0,-11 1 0,3-4 0,-15 9 0,-10-4 0,-2 6 0,-6-1 0,-5 1 0,12-1 0,-14 1 0,15-1 0,8-5 0,7-1 0,12-5 0,1 0 0,5 0 0,-5 4 0,4-3 0,-9 8 0,8-8 0,-20 8 0,6-3 0,-15 5 0,12-5 0,-4 4 0,15-5 0,-3 1 0,11-2 0,0-4 0,4 3 0,2-2 0,-6 3 0,3 0 0,-8-3 0,0 7 0,-14-2 0,-8 5 0,0 0 0,3-1 0,7 0 0,9 0 0,-3 0 0,11-5 0,0 2 0,4-6 0,2 3 0,-4 0 0,2 1 0,-13 4 0,8-4 0,-22 5 0,13-5 0,-14 6 0,13-1 0,-1 0 0,6-1 0,5 0 0,7-1 0,3-3 0,1-2 0,0 1 0,-7 0 0,-4 5 0,-3-1 0,-6 2 0,-2 0 0,-1 0 0,-11 0 0,11 0 0,-4 0 0,10 0 0,7-5 0,1-1 0,7 0 0,-2-4 0,4 4 0,0-4 0,-5 0 0,-1 4 0,-4 1 0,-5 4 0,-1 1 0,-34 13 0,9 1 0,-20 13 0,5-1 0,21-6 0,0 2 0,-25 10 0,23-7 0,1-1 0,-4 2 0,-6 5 0,13-1 0,8-6 0,6 9 0,11-12 0,1 4 0,10 0 0,0-4 0,5 10 0,-5 3 0,4 0 0,-4 6 0,5-1 0,0 2 0,0 7 0,0 0 0,0 7 0,0 2 0,0 25 0,0-27-255,0-7 1,0-1 254,0 11 0,0-14 0,0 2 0,0 29 0,0 8 0,2-42 0,2 0 0,3 44 0,3-39 0,1 0 0,-1-4 0,1 0 0,3 5 0,1 0 0,-2-5 0,1 0 0,3 4 0,0 0 0,1-4 0,0 0 0,2 0 0,1 0 0,-3-1 0,-1 0 0,2 0 0,1 0 0,1-2 0,0 0 0,0 3 0,1-1 0,2-2 0,-1-2 0,9 24 0,12 10 0,5 1 0,-1 0 0,5 0 0,-26-35 0,0-2 0,19 17 0,-11-14 0,-1 0 0,5 7-80,15 13 80,-17-14 0,13 8 0,-1 0 0,1 0 0,-16-20 0,0-2 0,7 12 0,-1-7 0,0-2 0,-8-6 0,3 5 0,3 1 0,14 12 0,1 11 0,-13-29 0,0-1 0,15 18 0,-10-16 0,0 1 0,23 28 0,-29-34 0,1 0-632,34 34 632,-31-32 0,2-2 0,-4-2 0,0 0 0,4 0 0,-2-2 0,22 16 0,19 8 0,-19-15 0,-13-7 0,2 1 0,26 9 0,-31-10 0,-1 0 0,27 8 0,5 12 0,-19-19 0,-16-6 0,0-1 0,13 1 0,-14-3 0,2-1 0,21 3 0,-22-2 0,2-1 0,24 0 0,19 16 0,-23-19 0,8 5 0,17 3-218,-27-8 218,23 0 0,-28-2 0,23-3 0,-6 4 0,-27-10 0,0-2 0,37 7 0,-37-6 0,2-1 0,-1 1 0,-1 0 0,46 0 0,-40-3 0,-1-1 0,25-3 0,18 0 0,-20 0-278,-18 0 1,2 0 277,-11 0 0,-1 0 0,4 0 0,-1 0-308,28 0 308,-29 0 0,0 0 0,40 0 0,-35 0 0,0 0 0,34 0 0,3 0 0,2 0-83,-41 0 0,1 0 83,39 0 0,-38-3 0,-2-1 0,25-2 0,-16 2 0,-2 0 0,0-6 0,9 5 0,3 2 0,3-4 0,-28 1 0,2 0 0,9 6 0,-3-1 0,21-10 0,-16 11 0,-1-1 0,16-10 0,4 9 0,14-9 0,-22 9 0,-18-1 0,-2-1-167,17-1 167,-15 4 0,0 0 0,12-4 0,-14 4 0,0 2 0,10-1 0,28 0 0,-15 0 0,7-6 0,-1 5 0,-5-5 0,5 6 0,-8 0 0,18 0 0,-27 0 0,23 0 0,-10 0 0,-6 0 0,18 0 0,-23 0 0,15 0 0,-5 0 0,6 0 0,-9 0 0,1 0 983,-8 0-962,6 0 376,-14 0-397,0 0 814,-9 0-814,-14 0 420,-1 0-420,-11 0 0,-5 0 0,-6 0 0,-5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implies</a:t>
            </a:r>
            <a:r>
              <a:rPr lang="nl-NL" dirty="0"/>
              <a:t> we had a proper </a:t>
            </a:r>
            <a:r>
              <a:rPr lang="nl-NL" dirty="0" err="1"/>
              <a:t>java</a:t>
            </a:r>
            <a:r>
              <a:rPr lang="nl-NL" dirty="0"/>
              <a:t> module </a:t>
            </a:r>
            <a:r>
              <a:rPr lang="nl-NL" dirty="0" err="1"/>
              <a:t>packaged</a:t>
            </a:r>
            <a:r>
              <a:rPr lang="nl-NL" dirty="0"/>
              <a:t> in a </a:t>
            </a:r>
            <a:r>
              <a:rPr lang="nl-NL" dirty="0" err="1"/>
              <a:t>jar</a:t>
            </a:r>
            <a:r>
              <a:rPr lang="nl-NL" dirty="0"/>
              <a:t> but </a:t>
            </a:r>
            <a:r>
              <a:rPr lang="nl-NL" dirty="0" err="1"/>
              <a:t>deploye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. It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ccess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classes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hidden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 modules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01015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52079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363276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, 6. An automatic module exports </a:t>
            </a:r>
            <a:r>
              <a:rPr lang="nl-NL" dirty="0" err="1"/>
              <a:t>all</a:t>
            </a:r>
            <a:r>
              <a:rPr lang="nl-NL" dirty="0"/>
              <a:t> packages, making option 1 correct. An </a:t>
            </a:r>
            <a:r>
              <a:rPr lang="nl-NL" dirty="0" err="1"/>
              <a:t>unnamed</a:t>
            </a:r>
            <a:r>
              <a:rPr lang="nl-NL" dirty="0"/>
              <a:t> module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refore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packages, </a:t>
            </a:r>
            <a:r>
              <a:rPr lang="nl-NL" dirty="0" err="1"/>
              <a:t>and</a:t>
            </a:r>
            <a:r>
              <a:rPr lang="nl-NL" dirty="0"/>
              <a:t> option 6 is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126073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 err="1"/>
              <a:t>Example</a:t>
            </a:r>
            <a:r>
              <a:rPr lang="nl-NL" sz="1200" dirty="0"/>
              <a:t> </a:t>
            </a:r>
            <a:r>
              <a:rPr lang="nl-NL" sz="1200" dirty="0" err="1"/>
              <a:t>from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</a:t>
            </a:r>
            <a:r>
              <a:rPr lang="nl-NL" sz="1200" dirty="0" err="1"/>
              <a:t>guice</a:t>
            </a:r>
            <a:r>
              <a:rPr lang="nl-NL" sz="1200" dirty="0"/>
              <a:t> </a:t>
            </a:r>
            <a:r>
              <a:rPr lang="nl-NL" sz="1200" dirty="0" err="1"/>
              <a:t>library</a:t>
            </a:r>
            <a:r>
              <a:rPr lang="nl-NL" sz="1200" dirty="0"/>
              <a:t> </a:t>
            </a:r>
            <a:r>
              <a:rPr lang="nl-NL" sz="1200" dirty="0" err="1"/>
              <a:t>from</a:t>
            </a:r>
            <a:r>
              <a:rPr lang="nl-NL" sz="1200" dirty="0"/>
              <a:t> google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723352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A </a:t>
            </a:r>
            <a:r>
              <a:rPr lang="nl-NL" sz="1200" dirty="0" err="1"/>
              <a:t>version</a:t>
            </a:r>
            <a:r>
              <a:rPr lang="nl-NL" sz="1200" dirty="0"/>
              <a:t> is </a:t>
            </a:r>
            <a:r>
              <a:rPr lang="nl-NL" sz="1200" dirty="0" err="1"/>
              <a:t>digits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dots</a:t>
            </a:r>
            <a:r>
              <a:rPr lang="nl-NL" sz="1200" dirty="0"/>
              <a:t> </a:t>
            </a:r>
            <a:r>
              <a:rPr lang="nl-NL" sz="1200" dirty="0" err="1"/>
              <a:t>with</a:t>
            </a:r>
            <a:r>
              <a:rPr lang="nl-NL" sz="1200" dirty="0"/>
              <a:t> </a:t>
            </a:r>
            <a:r>
              <a:rPr lang="nl-NL" sz="1200" dirty="0" err="1"/>
              <a:t>possible</a:t>
            </a:r>
            <a:r>
              <a:rPr lang="nl-NL" sz="1200" dirty="0"/>
              <a:t> extra information at </a:t>
            </a:r>
            <a:r>
              <a:rPr lang="nl-NL" sz="1200" dirty="0" err="1"/>
              <a:t>the</a:t>
            </a:r>
            <a:r>
              <a:rPr lang="nl-NL" sz="1200" dirty="0"/>
              <a:t> end, </a:t>
            </a:r>
            <a:r>
              <a:rPr lang="nl-NL" sz="1200" dirty="0" err="1"/>
              <a:t>for</a:t>
            </a:r>
            <a:r>
              <a:rPr lang="nl-NL" sz="1200" dirty="0"/>
              <a:t> </a:t>
            </a:r>
            <a:r>
              <a:rPr lang="nl-NL" sz="1200" dirty="0" err="1"/>
              <a:t>example</a:t>
            </a:r>
            <a:r>
              <a:rPr lang="nl-NL" sz="1200" dirty="0"/>
              <a:t>, ‐1.0.0 or ‐1.0‐RC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247506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244433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at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JAR </a:t>
            </a:r>
            <a:r>
              <a:rPr lang="nl-NL" dirty="0" err="1"/>
              <a:t>filename</a:t>
            </a:r>
            <a:r>
              <a:rPr lang="nl-NL" dirty="0"/>
              <a:t> is </a:t>
            </a:r>
            <a:r>
              <a:rPr lang="nl-NL" dirty="0" err="1"/>
              <a:t>removed</a:t>
            </a:r>
            <a:r>
              <a:rPr lang="nl-NL" dirty="0"/>
              <a:t>, making options 1 </a:t>
            </a:r>
            <a:r>
              <a:rPr lang="nl-NL" dirty="0" err="1"/>
              <a:t>and</a:t>
            </a:r>
            <a:r>
              <a:rPr lang="nl-NL" dirty="0"/>
              <a:t> 2 correct. Underscores (_) are </a:t>
            </a:r>
            <a:r>
              <a:rPr lang="nl-NL" dirty="0" err="1"/>
              <a:t>turned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(.), making option 3 </a:t>
            </a:r>
            <a:r>
              <a:rPr lang="nl-NL" dirty="0" err="1"/>
              <a:t>and</a:t>
            </a:r>
            <a:r>
              <a:rPr lang="nl-NL" dirty="0"/>
              <a:t> 3 incorrect. </a:t>
            </a:r>
            <a:r>
              <a:rPr lang="nl-NL" dirty="0" err="1"/>
              <a:t>Other</a:t>
            </a:r>
            <a:r>
              <a:rPr lang="nl-NL" dirty="0"/>
              <a:t> special </a:t>
            </a:r>
            <a:r>
              <a:rPr lang="nl-NL" dirty="0" err="1"/>
              <a:t>characters</a:t>
            </a:r>
            <a:r>
              <a:rPr lang="nl-NL" dirty="0"/>
              <a:t> like a dollar </a:t>
            </a:r>
            <a:r>
              <a:rPr lang="nl-NL" dirty="0" err="1"/>
              <a:t>sign</a:t>
            </a:r>
            <a:r>
              <a:rPr lang="nl-NL" dirty="0"/>
              <a:t> ($) are </a:t>
            </a:r>
            <a:r>
              <a:rPr lang="nl-NL" dirty="0" err="1"/>
              <a:t>also</a:t>
            </a:r>
            <a:r>
              <a:rPr lang="nl-NL" dirty="0"/>
              <a:t> </a:t>
            </a:r>
            <a:r>
              <a:rPr lang="nl-NL" dirty="0" err="1"/>
              <a:t>turned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 </a:t>
            </a:r>
            <a:r>
              <a:rPr lang="nl-NL" dirty="0" err="1"/>
              <a:t>However</a:t>
            </a:r>
            <a:r>
              <a:rPr lang="nl-NL" dirty="0"/>
              <a:t>, </a:t>
            </a:r>
            <a:r>
              <a:rPr lang="nl-NL" dirty="0" err="1"/>
              <a:t>adjacent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are </a:t>
            </a:r>
            <a:r>
              <a:rPr lang="nl-NL" dirty="0" err="1"/>
              <a:t>merged</a:t>
            </a:r>
            <a:r>
              <a:rPr lang="nl-NL" dirty="0"/>
              <a:t>,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leading</a:t>
            </a:r>
            <a:r>
              <a:rPr lang="nl-NL" dirty="0"/>
              <a:t>/</a:t>
            </a:r>
            <a:r>
              <a:rPr lang="nl-NL" dirty="0" err="1"/>
              <a:t>trailing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are </a:t>
            </a:r>
            <a:r>
              <a:rPr lang="nl-NL" dirty="0" err="1"/>
              <a:t>removed</a:t>
            </a:r>
            <a:r>
              <a:rPr lang="nl-NL" dirty="0"/>
              <a:t>. </a:t>
            </a:r>
            <a:r>
              <a:rPr lang="nl-NL" dirty="0" err="1"/>
              <a:t>Therefore</a:t>
            </a:r>
            <a:r>
              <a:rPr lang="nl-NL" dirty="0"/>
              <a:t>, option 5 is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705840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roach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wer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s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read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dules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7170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op‐down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gr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mo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ful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control of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r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44549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first </a:t>
            </a:r>
            <a:r>
              <a:rPr lang="nl-NL" dirty="0" err="1"/>
              <a:t>places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n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migrate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top-level modul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named</a:t>
            </a:r>
            <a:r>
              <a:rPr lang="nl-NL" dirty="0"/>
              <a:t> module, </a:t>
            </a:r>
            <a:r>
              <a:rPr lang="nl-NL" dirty="0" err="1"/>
              <a:t>le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modules as automatic modules. Option 2 is correct as </a:t>
            </a:r>
            <a:r>
              <a:rPr lang="nl-NL" dirty="0" err="1"/>
              <a:t>it</a:t>
            </a:r>
            <a:r>
              <a:rPr lang="nl-NL" dirty="0"/>
              <a:t> matches </a:t>
            </a:r>
            <a:r>
              <a:rPr lang="nl-NL" dirty="0" err="1"/>
              <a:t>both</a:t>
            </a:r>
            <a:r>
              <a:rPr lang="nl-NL" dirty="0"/>
              <a:t> of </a:t>
            </a:r>
            <a:r>
              <a:rPr lang="nl-NL" dirty="0" err="1"/>
              <a:t>those</a:t>
            </a:r>
            <a:r>
              <a:rPr lang="nl-NL" dirty="0"/>
              <a:t> </a:t>
            </a:r>
            <a:r>
              <a:rPr lang="nl-NL" dirty="0" err="1"/>
              <a:t>characteristic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46726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2519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cod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936091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7369184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is a new module,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module. </a:t>
            </a:r>
            <a:r>
              <a:rPr lang="nl-NL" dirty="0" err="1"/>
              <a:t>However</a:t>
            </a:r>
            <a:r>
              <a:rPr lang="nl-NL" dirty="0"/>
              <a:t>,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isting</a:t>
            </a:r>
            <a:r>
              <a:rPr lang="nl-NL" dirty="0"/>
              <a:t> modules </a:t>
            </a:r>
            <a:r>
              <a:rPr lang="nl-NL" dirty="0" err="1"/>
              <a:t>nee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recompiled</a:t>
            </a:r>
            <a:r>
              <a:rPr lang="nl-NL" dirty="0"/>
              <a:t>, making option 6 correct. The service </a:t>
            </a:r>
            <a:r>
              <a:rPr lang="nl-NL" dirty="0" err="1"/>
              <a:t>locator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h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Grea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compliant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pen/</a:t>
            </a:r>
            <a:r>
              <a:rPr lang="nl-NL" dirty="0" err="1"/>
              <a:t>closed</a:t>
            </a:r>
            <a:r>
              <a:rPr lang="nl-NL" dirty="0"/>
              <a:t> </a:t>
            </a:r>
            <a:r>
              <a:rPr lang="nl-NL" dirty="0" err="1"/>
              <a:t>principle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18044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7511657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589531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305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chapter</a:t>
            </a:r>
            <a:r>
              <a:rPr lang="nl-NL" dirty="0"/>
              <a:t> 11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639098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057720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 </a:t>
            </a:r>
            <a:r>
              <a:rPr lang="nl-NL" dirty="0" err="1"/>
              <a:t>and</a:t>
            </a:r>
            <a:r>
              <a:rPr lang="nl-NL" dirty="0"/>
              <a:t> 4 </a:t>
            </a:r>
            <a:r>
              <a:rPr lang="nl-NL" dirty="0" err="1"/>
              <a:t>won’t</a:t>
            </a:r>
            <a:r>
              <a:rPr lang="nl-NL" dirty="0"/>
              <a:t> </a:t>
            </a:r>
            <a:r>
              <a:rPr lang="nl-NL" dirty="0" err="1"/>
              <a:t>ompile</a:t>
            </a:r>
            <a:r>
              <a:rPr lang="nl-NL" dirty="0"/>
              <a:t>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getStream</a:t>
            </a:r>
            <a:r>
              <a:rPr lang="nl-NL" dirty="0"/>
              <a:t> is a non </a:t>
            </a:r>
            <a:r>
              <a:rPr lang="nl-NL" dirty="0" err="1"/>
              <a:t>existing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. The stream </a:t>
            </a:r>
            <a:r>
              <a:rPr lang="nl-NL" dirty="0" err="1"/>
              <a:t>geturns</a:t>
            </a:r>
            <a:r>
              <a:rPr lang="nl-NL" dirty="0"/>
              <a:t> a list of providers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is </a:t>
            </a:r>
            <a:r>
              <a:rPr lang="nl-NL" dirty="0" err="1"/>
              <a:t>why</a:t>
            </a:r>
            <a:r>
              <a:rPr lang="nl-NL" dirty="0"/>
              <a:t> 2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fail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4172016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is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reated</a:t>
            </a:r>
            <a:r>
              <a:rPr lang="nl-NL" dirty="0"/>
              <a:t> as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 even </a:t>
            </a:r>
            <a:r>
              <a:rPr lang="nl-NL" dirty="0" err="1"/>
              <a:t>though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has a module-info file </a:t>
            </a:r>
            <a:r>
              <a:rPr lang="nl-NL" dirty="0" err="1"/>
              <a:t>inside</a:t>
            </a:r>
            <a:r>
              <a:rPr lang="nl-NL" dirty="0"/>
              <a:t>. </a:t>
            </a:r>
            <a:r>
              <a:rPr lang="nl-NL" dirty="0" err="1"/>
              <a:t>Remember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learning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llow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fer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making options 2 </a:t>
            </a:r>
            <a:r>
              <a:rPr lang="nl-NL" dirty="0" err="1"/>
              <a:t>and</a:t>
            </a:r>
            <a:r>
              <a:rPr lang="nl-NL" dirty="0"/>
              <a:t> 4 incorrect. The </a:t>
            </a:r>
            <a:r>
              <a:rPr lang="nl-NL" dirty="0" err="1"/>
              <a:t>classpath</a:t>
            </a:r>
            <a:r>
              <a:rPr lang="nl-NL" dirty="0"/>
              <a:t> does </a:t>
            </a:r>
            <a:r>
              <a:rPr lang="nl-NL" dirty="0" err="1"/>
              <a:t>not</a:t>
            </a:r>
            <a:r>
              <a:rPr lang="nl-NL" dirty="0"/>
              <a:t> have a facility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strict</a:t>
            </a:r>
            <a:r>
              <a:rPr lang="nl-NL" dirty="0"/>
              <a:t> packages, making option 1 correct </a:t>
            </a:r>
            <a:r>
              <a:rPr lang="nl-NL" dirty="0" err="1"/>
              <a:t>and</a:t>
            </a:r>
            <a:r>
              <a:rPr lang="nl-NL" dirty="0"/>
              <a:t> options 3 </a:t>
            </a:r>
            <a:r>
              <a:rPr lang="nl-NL" dirty="0" err="1"/>
              <a:t>and</a:t>
            </a:r>
            <a:r>
              <a:rPr lang="nl-NL" dirty="0"/>
              <a:t> 5 in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1542711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5. Trick question!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doesn't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a module-info file. </a:t>
            </a:r>
            <a:r>
              <a:rPr lang="nl-NL" dirty="0" err="1"/>
              <a:t>Therefore</a:t>
            </a:r>
            <a:r>
              <a:rPr lang="nl-NL" dirty="0"/>
              <a:t>, option 5 is correct.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</a:t>
            </a:r>
            <a:r>
              <a:rPr lang="nl-NL" dirty="0"/>
              <a:t> automatic module. The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tre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automatic module as a </a:t>
            </a:r>
            <a:r>
              <a:rPr lang="nl-NL" dirty="0" err="1"/>
              <a:t>regular</a:t>
            </a:r>
            <a:r>
              <a:rPr lang="nl-NL" dirty="0"/>
              <a:t> JAR without </a:t>
            </a:r>
            <a:r>
              <a:rPr lang="nl-NL" dirty="0" err="1"/>
              <a:t>invol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module.info</a:t>
            </a:r>
            <a:r>
              <a:rPr lang="nl-NL" dirty="0"/>
              <a:t> fi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69511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4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42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2162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chapter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25754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45768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amed</a:t>
            </a:r>
            <a:r>
              <a:rPr lang="nl-NL" dirty="0"/>
              <a:t> module: a module </a:t>
            </a:r>
            <a:r>
              <a:rPr lang="nl-NL" dirty="0" err="1"/>
              <a:t>containing</a:t>
            </a:r>
            <a:r>
              <a:rPr lang="nl-NL" dirty="0"/>
              <a:t> a module-info file.</a:t>
            </a:r>
          </a:p>
          <a:p>
            <a:endParaRPr lang="nl-NL" dirty="0"/>
          </a:p>
          <a:p>
            <a:r>
              <a:rPr lang="nl-NL" dirty="0"/>
              <a:t>Automatic module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treated</a:t>
            </a:r>
            <a:r>
              <a:rPr lang="nl-NL" dirty="0"/>
              <a:t> as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were</a:t>
            </a:r>
            <a:r>
              <a:rPr lang="nl-NL" dirty="0"/>
              <a:t> a module-info file</a:t>
            </a:r>
          </a:p>
          <a:p>
            <a:r>
              <a:rPr lang="nl-NL" dirty="0"/>
              <a:t>- </a:t>
            </a:r>
            <a:r>
              <a:rPr lang="nl-NL" dirty="0" err="1"/>
              <a:t>all</a:t>
            </a:r>
            <a:r>
              <a:rPr lang="nl-NL" dirty="0"/>
              <a:t> packages are </a:t>
            </a:r>
            <a:r>
              <a:rPr lang="nl-NL" dirty="0" err="1"/>
              <a:t>exported</a:t>
            </a:r>
            <a:endParaRPr lang="nl-NL" dirty="0"/>
          </a:p>
          <a:p>
            <a:r>
              <a:rPr lang="nl-NL" dirty="0"/>
              <a:t>- automatic module name </a:t>
            </a:r>
            <a:r>
              <a:rPr lang="nl-NL" dirty="0" err="1"/>
              <a:t>determination</a:t>
            </a:r>
            <a:endParaRPr lang="nl-NL" dirty="0"/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file extens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name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name. A </a:t>
            </a:r>
            <a:r>
              <a:rPr lang="nl-NL" dirty="0" err="1"/>
              <a:t>version</a:t>
            </a:r>
            <a:r>
              <a:rPr lang="nl-NL" dirty="0"/>
              <a:t> is </a:t>
            </a:r>
            <a:r>
              <a:rPr lang="nl-NL" dirty="0" err="1"/>
              <a:t>digi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extra information at </a:t>
            </a:r>
            <a:r>
              <a:rPr lang="nl-NL" dirty="0" err="1"/>
              <a:t>the</a:t>
            </a:r>
            <a:r>
              <a:rPr lang="nl-NL" dirty="0"/>
              <a:t> end,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, ‐1.0.0 or ‐1.0‐RC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remaining</a:t>
            </a:r>
            <a:r>
              <a:rPr lang="nl-NL" dirty="0"/>
              <a:t> </a:t>
            </a:r>
            <a:r>
              <a:rPr lang="nl-NL" dirty="0" err="1"/>
              <a:t>characters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lett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number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sequences</a:t>
            </a:r>
            <a:r>
              <a:rPr lang="nl-NL" dirty="0"/>
              <a:t> of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 single dot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o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he</a:t>
            </a:r>
            <a:r>
              <a:rPr lang="nl-NL" dirty="0"/>
              <a:t> first or last </a:t>
            </a:r>
            <a:r>
              <a:rPr lang="nl-NL" dirty="0" err="1"/>
              <a:t>character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sult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Unnamed</a:t>
            </a:r>
            <a:r>
              <a:rPr lang="nl-NL" dirty="0"/>
              <a:t> </a:t>
            </a:r>
            <a:r>
              <a:rPr lang="nl-NL" dirty="0" err="1"/>
              <a:t>modele</a:t>
            </a:r>
            <a:r>
              <a:rPr lang="nl-NL" dirty="0"/>
              <a:t> 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packag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/automatic modules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ad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JAR on </a:t>
            </a:r>
            <a:r>
              <a:rPr lang="nl-NL" dirty="0" err="1"/>
              <a:t>the</a:t>
            </a:r>
            <a:r>
              <a:rPr lang="nl-NL" dirty="0"/>
              <a:t> class AND module </a:t>
            </a:r>
            <a:r>
              <a:rPr lang="nl-NL" dirty="0" err="1"/>
              <a:t>path</a:t>
            </a:r>
            <a:r>
              <a:rPr lang="nl-NL" dirty="0"/>
              <a:t> 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ason</a:t>
            </a:r>
            <a:r>
              <a:rPr lang="nl-NL" dirty="0"/>
              <a:t> </a:t>
            </a:r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non-</a:t>
            </a:r>
            <a:r>
              <a:rPr lang="nl-NL" dirty="0" err="1"/>
              <a:t>modular</a:t>
            </a:r>
            <a:r>
              <a:rPr lang="nl-NL" dirty="0"/>
              <a:t> code runs on java9+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1908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err="1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34305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54113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ll</a:t>
            </a:r>
            <a:r>
              <a:rPr lang="nl-NL" dirty="0"/>
              <a:t> classes in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names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y</a:t>
            </a:r>
            <a:r>
              <a:rPr lang="nl-NL" dirty="0"/>
              <a:t> class form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14979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23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23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6.png"/><Relationship Id="rId5" Type="http://schemas.openxmlformats.org/officeDocument/2006/relationships/customXml" Target="../ink/ink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p-bitbucket.nl.eu.abnamro.com:7999/projects/COESD/repos/java-triangle/browse/ocp/chapter17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7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– no module-info file –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gets</a:t>
            </a:r>
            <a:r>
              <a:rPr lang="nl-NL" sz="2800" dirty="0"/>
              <a:t>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pPr marL="457200" indent="-457200">
              <a:buFontTx/>
              <a:buChar char="-"/>
            </a:pPr>
            <a:r>
              <a:rPr lang="nl-NL" sz="2800" dirty="0" err="1"/>
              <a:t>Treated</a:t>
            </a:r>
            <a:r>
              <a:rPr lang="nl-NL" sz="2800" dirty="0"/>
              <a:t> as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re</a:t>
            </a:r>
            <a:r>
              <a:rPr lang="nl-NL" sz="2800" dirty="0"/>
              <a:t> was a module-info file</a:t>
            </a:r>
          </a:p>
          <a:p>
            <a:pPr marL="457200" indent="-457200">
              <a:buFontTx/>
              <a:buChar char="-"/>
            </a:pPr>
            <a:r>
              <a:rPr lang="nl-NL" sz="2800" dirty="0"/>
              <a:t>Module nam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determined</a:t>
            </a:r>
            <a:r>
              <a:rPr lang="nl-NL" sz="2800" dirty="0"/>
              <a:t> bij </a:t>
            </a:r>
            <a:r>
              <a:rPr lang="nl-NL" sz="2800" dirty="0" err="1"/>
              <a:t>the</a:t>
            </a:r>
            <a:r>
              <a:rPr lang="nl-NL" sz="2800" dirty="0"/>
              <a:t> JVM.</a:t>
            </a:r>
          </a:p>
          <a:p>
            <a:pPr marL="457200" indent="-457200">
              <a:buFontTx/>
              <a:buChar char="-"/>
            </a:pPr>
            <a:r>
              <a:rPr lang="nl-NL" sz="2800" b="1" dirty="0" err="1"/>
              <a:t>All</a:t>
            </a:r>
            <a:r>
              <a:rPr lang="nl-NL" sz="2800" dirty="0"/>
              <a:t> packages are </a:t>
            </a:r>
            <a:r>
              <a:rPr lang="nl-NL" sz="2800" dirty="0" err="1"/>
              <a:t>exported</a:t>
            </a:r>
            <a:r>
              <a:rPr lang="nl-NL" sz="2800" dirty="0"/>
              <a:t>.</a:t>
            </a:r>
          </a:p>
          <a:p>
            <a:pPr marL="457200" indent="-457200">
              <a:buFontTx/>
              <a:buChar char="-"/>
            </a:pPr>
            <a:r>
              <a:rPr lang="nl-NL" sz="2800" dirty="0" err="1"/>
              <a:t>Automatically</a:t>
            </a:r>
            <a:r>
              <a:rPr lang="nl-NL" sz="2800" dirty="0"/>
              <a:t>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modules.</a:t>
            </a:r>
          </a:p>
        </p:txBody>
      </p:sp>
    </p:spTree>
    <p:extLst>
      <p:ext uri="{BB962C8B-B14F-4D97-AF65-F5344CB8AC3E}">
        <p14:creationId xmlns:p14="http://schemas.microsoft.com/office/powerpoint/2010/main" val="835542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886968" y="1172438"/>
            <a:ext cx="1019556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Un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without a module-info file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lac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- It </a:t>
            </a:r>
            <a:r>
              <a:rPr lang="nl-NL" sz="2800" dirty="0" err="1"/>
              <a:t>doesn't</a:t>
            </a:r>
            <a:r>
              <a:rPr lang="nl-NL" sz="2800" dirty="0"/>
              <a:t> export </a:t>
            </a:r>
            <a:r>
              <a:rPr lang="nl-NL" sz="2800" dirty="0" err="1"/>
              <a:t>any</a:t>
            </a:r>
            <a:r>
              <a:rPr lang="nl-NL" sz="2800" dirty="0"/>
              <a:t> package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/automatic modules.</a:t>
            </a:r>
          </a:p>
          <a:p>
            <a:r>
              <a:rPr lang="nl-NL" sz="2800" dirty="0"/>
              <a:t>- It </a:t>
            </a:r>
            <a:r>
              <a:rPr lang="nl-NL" sz="2800" dirty="0" err="1"/>
              <a:t>rea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JAR on </a:t>
            </a:r>
            <a:r>
              <a:rPr lang="nl-NL" sz="2800" dirty="0" err="1"/>
              <a:t>the</a:t>
            </a:r>
            <a:r>
              <a:rPr lang="nl-NL" sz="2800" dirty="0"/>
              <a:t> class AND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3893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happens</a:t>
            </a:r>
            <a:r>
              <a:rPr lang="nl-NL" sz="2800" dirty="0"/>
              <a:t>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has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/>
              <a:t>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while</a:t>
            </a:r>
            <a:r>
              <a:rPr lang="nl-NL" sz="2000" dirty="0"/>
              <a:t> 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2. automatic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named</a:t>
            </a:r>
            <a:r>
              <a:rPr lang="nl-NL" sz="2000" dirty="0"/>
              <a:t>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un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7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, 6</a:t>
            </a:r>
          </a:p>
        </p:txBody>
      </p:sp>
    </p:spTree>
    <p:extLst>
      <p:ext uri="{BB962C8B-B14F-4D97-AF65-F5344CB8AC3E}">
        <p14:creationId xmlns:p14="http://schemas.microsoft.com/office/powerpoint/2010/main" val="91273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Does </a:t>
            </a:r>
            <a:r>
              <a:rPr lang="nl-NL" sz="2800" dirty="0" err="1"/>
              <a:t>an</a:t>
            </a:r>
            <a:r>
              <a:rPr lang="nl-NL" sz="2800" dirty="0"/>
              <a:t> automatic module have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 </a:t>
            </a:r>
            <a:r>
              <a:rPr lang="nl-NL" sz="2800" dirty="0" err="1"/>
              <a:t>named</a:t>
            </a:r>
            <a:r>
              <a:rPr lang="nl-NL" sz="2800" dirty="0"/>
              <a:t> module does. An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may</a:t>
            </a:r>
            <a:r>
              <a:rPr lang="nl-NL" sz="2800" dirty="0"/>
              <a:t> have </a:t>
            </a:r>
            <a:r>
              <a:rPr lang="nl-NL" sz="2800" dirty="0" err="1"/>
              <a:t>such</a:t>
            </a:r>
            <a:r>
              <a:rPr lang="nl-NL" sz="2800" dirty="0"/>
              <a:t> a file but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0453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Is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readable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n </a:t>
            </a:r>
            <a:r>
              <a:rPr lang="nl-NL" sz="2800" dirty="0" err="1"/>
              <a:t>unnamed</a:t>
            </a:r>
            <a:r>
              <a:rPr lang="nl-NL" sz="2800" dirty="0"/>
              <a:t> module is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automatic modules are </a:t>
            </a:r>
            <a:r>
              <a:rPr lang="nl-NL" sz="2800" dirty="0" err="1"/>
              <a:t>accessible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27324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45441" y="911450"/>
            <a:ext cx="1072973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are </a:t>
            </a:r>
            <a:r>
              <a:rPr lang="nl-NL" sz="2800" dirty="0" err="1"/>
              <a:t>true</a:t>
            </a:r>
            <a:r>
              <a:rPr lang="nl-NL" sz="2800" dirty="0"/>
              <a:t> statements? (</a:t>
            </a:r>
            <a:r>
              <a:rPr lang="nl-NL" sz="2800" dirty="0" err="1"/>
              <a:t>Choose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apply</a:t>
            </a:r>
            <a:r>
              <a:rPr lang="nl-NL" sz="2800" dirty="0"/>
              <a:t>.)</a:t>
            </a:r>
          </a:p>
          <a:p>
            <a:endParaRPr lang="nl-NL" sz="28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specifi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545441" y="568198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6</a:t>
            </a:r>
          </a:p>
        </p:txBody>
      </p:sp>
    </p:spTree>
    <p:extLst>
      <p:ext uri="{BB962C8B-B14F-4D97-AF65-F5344CB8AC3E}">
        <p14:creationId xmlns:p14="http://schemas.microsoft.com/office/powerpoint/2010/main" val="391711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r>
              <a:rPr lang="nl-NL" sz="2800" dirty="0"/>
              <a:t> </a:t>
            </a:r>
            <a:r>
              <a:rPr lang="nl-NL" sz="2800" dirty="0" err="1"/>
              <a:t>algorithm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JAR has a MANIFEST.MF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may</a:t>
            </a:r>
            <a:r>
              <a:rPr lang="nl-NL" sz="2800" dirty="0"/>
              <a:t> </a:t>
            </a:r>
            <a:r>
              <a:rPr lang="nl-NL" sz="2800" dirty="0" err="1"/>
              <a:t>defin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roperty </a:t>
            </a:r>
            <a:r>
              <a:rPr lang="nl-NL" sz="2800" b="1" dirty="0"/>
              <a:t>Automatic-Module-Name</a:t>
            </a:r>
            <a:r>
              <a:rPr lang="nl-NL" sz="2800" dirty="0"/>
              <a:t>.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0064185F-8459-9641-8C54-D155B78E8FAC}"/>
              </a:ext>
            </a:extLst>
          </p:cNvPr>
          <p:cNvSpPr txBox="1"/>
          <p:nvPr/>
        </p:nvSpPr>
        <p:spPr>
          <a:xfrm>
            <a:off x="599089" y="3323896"/>
            <a:ext cx="1063646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Manifest-Version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1.0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chiver</a:t>
            </a:r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-Version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Plexus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chiver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Created-By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Apache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ven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Built-</a:t>
            </a: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fu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 err="1">
                <a:latin typeface="Courier New" panose="02070309020205020404" pitchFamily="49" charset="0"/>
                <a:cs typeface="Courier New" panose="02070309020205020404" pitchFamily="49" charset="0"/>
              </a:rPr>
              <a:t>Build-Jdk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11.0.9.1</a:t>
            </a:r>
            <a:b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dirty="0">
                <a:latin typeface="Courier New" panose="02070309020205020404" pitchFamily="49" charset="0"/>
                <a:cs typeface="Courier New" panose="02070309020205020404" pitchFamily="49" charset="0"/>
              </a:rPr>
              <a:t>Automatic-Module-Name</a:t>
            </a:r>
            <a:r>
              <a:rPr lang="nl-NL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nl-NL" sz="2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m.google.guice</a:t>
            </a:r>
            <a:endParaRPr lang="nl-NL" sz="2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202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r>
              <a:rPr lang="nl-NL" sz="2800" dirty="0"/>
              <a:t> </a:t>
            </a:r>
            <a:r>
              <a:rPr lang="nl-NL" sz="2800" dirty="0" err="1"/>
              <a:t>algorithm</a:t>
            </a:r>
            <a:endParaRPr lang="nl-NL" sz="2800" dirty="0"/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anifest file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 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Otherwise</a:t>
            </a:r>
            <a:r>
              <a:rPr lang="nl-NL" sz="2800" dirty="0"/>
              <a:t> </a:t>
            </a: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file extens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AR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version</a:t>
            </a:r>
            <a:r>
              <a:rPr lang="nl-NL" sz="2800" dirty="0"/>
              <a:t> informat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end of </a:t>
            </a:r>
            <a:r>
              <a:rPr lang="nl-NL" sz="2800" dirty="0" err="1"/>
              <a:t>the</a:t>
            </a:r>
            <a:r>
              <a:rPr lang="nl-NL" sz="2800" dirty="0"/>
              <a:t>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remaining</a:t>
            </a:r>
            <a:r>
              <a:rPr lang="nl-NL" sz="2800" dirty="0"/>
              <a:t> </a:t>
            </a:r>
            <a:r>
              <a:rPr lang="nl-NL" sz="2800" dirty="0" err="1"/>
              <a:t>characters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</a:t>
            </a:r>
            <a:r>
              <a:rPr lang="nl-NL" sz="2800" dirty="0" err="1"/>
              <a:t>than</a:t>
            </a:r>
            <a:r>
              <a:rPr lang="nl-NL" sz="2800" dirty="0"/>
              <a:t> letters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number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dot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sequences</a:t>
            </a:r>
            <a:r>
              <a:rPr lang="nl-NL" sz="2800" dirty="0"/>
              <a:t> of </a:t>
            </a:r>
            <a:r>
              <a:rPr lang="nl-NL" sz="2800" dirty="0" err="1"/>
              <a:t>dot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a single dot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ot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or last </a:t>
            </a:r>
            <a:r>
              <a:rPr lang="nl-NL" sz="2800" dirty="0" err="1"/>
              <a:t>character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sult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06615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17CEA9E0-D3C9-564E-8E51-456337775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754310"/>
              </p:ext>
            </p:extLst>
          </p:nvPr>
        </p:nvGraphicFramePr>
        <p:xfrm>
          <a:off x="644634" y="2385869"/>
          <a:ext cx="10601435" cy="2621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198">
                  <a:extLst>
                    <a:ext uri="{9D8B030D-6E8A-4147-A177-3AD203B41FA5}">
                      <a16:colId xmlns:a16="http://schemas.microsoft.com/office/drawing/2014/main" val="2001334720"/>
                    </a:ext>
                  </a:extLst>
                </a:gridCol>
                <a:gridCol w="2809629">
                  <a:extLst>
                    <a:ext uri="{9D8B030D-6E8A-4147-A177-3AD203B41FA5}">
                      <a16:colId xmlns:a16="http://schemas.microsoft.com/office/drawing/2014/main" val="2820033144"/>
                    </a:ext>
                  </a:extLst>
                </a:gridCol>
                <a:gridCol w="3584028">
                  <a:extLst>
                    <a:ext uri="{9D8B030D-6E8A-4147-A177-3AD203B41FA5}">
                      <a16:colId xmlns:a16="http://schemas.microsoft.com/office/drawing/2014/main" val="2728702032"/>
                    </a:ext>
                  </a:extLst>
                </a:gridCol>
                <a:gridCol w="3636580">
                  <a:extLst>
                    <a:ext uri="{9D8B030D-6E8A-4147-A177-3AD203B41FA5}">
                      <a16:colId xmlns:a16="http://schemas.microsoft.com/office/drawing/2014/main" val="3444204209"/>
                    </a:ext>
                  </a:extLst>
                </a:gridCol>
              </a:tblGrid>
              <a:tr h="374549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915493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JAR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.j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.jar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6643458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file 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2041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version</a:t>
                      </a:r>
                      <a:r>
                        <a:rPr lang="nl-NL" dirty="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5128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special </a:t>
                      </a:r>
                      <a:r>
                        <a:rPr lang="nl-NL" dirty="0" err="1"/>
                        <a:t>charact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.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600239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equence</a:t>
                      </a:r>
                      <a:r>
                        <a:rPr lang="nl-NL" dirty="0"/>
                        <a:t> of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782370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lead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rail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884289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D540218D-5742-6043-9526-B83C24C614CC}"/>
              </a:ext>
            </a:extLst>
          </p:cNvPr>
          <p:cNvSpPr txBox="1"/>
          <p:nvPr/>
        </p:nvSpPr>
        <p:spPr>
          <a:xfrm>
            <a:off x="644634" y="118294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module name </a:t>
            </a:r>
            <a:r>
              <a:rPr lang="nl-NL" sz="2800" dirty="0" err="1"/>
              <a:t>determin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627980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 (Continued)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JAR </a:t>
            </a:r>
            <a:r>
              <a:rPr lang="nl-NL" sz="2000" dirty="0" err="1"/>
              <a:t>filename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generated</a:t>
            </a:r>
            <a:r>
              <a:rPr lang="nl-NL" sz="2000" dirty="0"/>
              <a:t> automatic module name pairs are correct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emily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2. emily‐1.0.0‐SNAPSHOT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3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‐the‐cat</a:t>
            </a:r>
            <a:endParaRPr lang="nl-NL" sz="2000" dirty="0"/>
          </a:p>
          <a:p>
            <a:pPr fontAlgn="base"/>
            <a:r>
              <a:rPr lang="nl-NL" sz="2000" dirty="0"/>
              <a:t>4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_the_cat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.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7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2, 6</a:t>
            </a:r>
          </a:p>
        </p:txBody>
      </p:sp>
    </p:spTree>
    <p:extLst>
      <p:ext uri="{BB962C8B-B14F-4D97-AF65-F5344CB8AC3E}">
        <p14:creationId xmlns:p14="http://schemas.microsoft.com/office/powerpoint/2010/main" val="128727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Migrat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</a:t>
            </a:r>
            <a:r>
              <a:rPr lang="nl-NL" sz="2800" dirty="0" err="1"/>
              <a:t>applications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Bottom up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tart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ackage/</a:t>
            </a:r>
            <a:r>
              <a:rPr lang="nl-NL" sz="2800" dirty="0" err="1"/>
              <a:t>lib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has no </a:t>
            </a:r>
            <a:r>
              <a:rPr lang="nl-NL" sz="2800" dirty="0" err="1"/>
              <a:t>dependencie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Mo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04422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0353C0-C3C9-4647-85E7-9D47B2B2A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633" y="1159238"/>
            <a:ext cx="6422733" cy="453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083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Top down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Put </a:t>
            </a:r>
            <a:r>
              <a:rPr lang="nl-NL" sz="2800" dirty="0" err="1"/>
              <a:t>all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elec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highest</a:t>
            </a:r>
            <a:r>
              <a:rPr lang="nl-NL" sz="2800" dirty="0"/>
              <a:t> level </a:t>
            </a:r>
            <a:r>
              <a:rPr lang="nl-NL" sz="2800" dirty="0" err="1"/>
              <a:t>that</a:t>
            </a:r>
            <a:r>
              <a:rPr lang="nl-NL" sz="2800" dirty="0"/>
              <a:t> has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yet</a:t>
            </a:r>
            <a:r>
              <a:rPr lang="nl-NL" sz="2800" dirty="0"/>
              <a:t> been </a:t>
            </a:r>
            <a:r>
              <a:rPr lang="nl-NL" sz="2800" dirty="0" err="1"/>
              <a:t>migrated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971550" lvl="1" indent="-514350">
              <a:buFont typeface="+mj-lt"/>
              <a:buAutoNum type="arabicPeriod"/>
            </a:pP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automatic </a:t>
            </a:r>
            <a:r>
              <a:rPr lang="nl-NL" sz="2800" dirty="0" err="1"/>
              <a:t>derived</a:t>
            </a:r>
            <a:r>
              <a:rPr lang="nl-NL" sz="2800" dirty="0"/>
              <a:t> </a:t>
            </a:r>
            <a:r>
              <a:rPr lang="nl-NL" sz="2800" dirty="0" err="1"/>
              <a:t>nam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quired</a:t>
            </a:r>
            <a:r>
              <a:rPr lang="nl-NL" sz="2800" dirty="0"/>
              <a:t> modules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34305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16439-7945-3C4F-BD32-47F455C9F3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7" y="1135118"/>
            <a:ext cx="6490985" cy="458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183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799742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igration </a:t>
            </a:r>
            <a:r>
              <a:rPr lang="nl-NL" sz="2800" dirty="0" err="1"/>
              <a:t>strategies</a:t>
            </a:r>
            <a:r>
              <a:rPr lang="nl-NL" sz="2800" dirty="0"/>
              <a:t> </a:t>
            </a:r>
            <a:r>
              <a:rPr lang="nl-NL" sz="2800" dirty="0" err="1"/>
              <a:t>compared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2BFE1B6-6071-154D-A594-AC7255C39A77}"/>
              </a:ext>
            </a:extLst>
          </p:cNvPr>
          <p:cNvSpPr txBox="1"/>
          <p:nvPr/>
        </p:nvSpPr>
        <p:spPr>
          <a:xfrm>
            <a:off x="1405089" y="3429000"/>
            <a:ext cx="10077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Bottom up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are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  <a:p>
            <a:r>
              <a:rPr lang="nl-NL" dirty="0"/>
              <a:t>Top down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8424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/>
              <a:t>For a top‐down </a:t>
            </a:r>
            <a:r>
              <a:rPr lang="nl-NL" sz="2000" dirty="0" err="1"/>
              <a:t>migration</a:t>
            </a:r>
            <a:r>
              <a:rPr lang="nl-NL" sz="2000" dirty="0"/>
              <a:t>, </a:t>
            </a:r>
            <a:r>
              <a:rPr lang="nl-NL" sz="2000" dirty="0" err="1"/>
              <a:t>all</a:t>
            </a:r>
            <a:r>
              <a:rPr lang="nl-NL" sz="2000" dirty="0"/>
              <a:t> modules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than</a:t>
            </a:r>
            <a:r>
              <a:rPr lang="nl-NL" sz="2000" dirty="0"/>
              <a:t> </a:t>
            </a:r>
            <a:r>
              <a:rPr lang="nl-NL" sz="2000" dirty="0" err="1"/>
              <a:t>named</a:t>
            </a:r>
            <a:r>
              <a:rPr lang="nl-NL" sz="2000" dirty="0"/>
              <a:t> modules are ____________ modules </a:t>
            </a:r>
            <a:r>
              <a:rPr lang="nl-NL" sz="2000" dirty="0" err="1"/>
              <a:t>and</a:t>
            </a:r>
            <a:r>
              <a:rPr lang="nl-NL" sz="2000" dirty="0"/>
              <a:t> on </a:t>
            </a:r>
            <a:r>
              <a:rPr lang="nl-NL" sz="2000" dirty="0" err="1"/>
              <a:t>the</a:t>
            </a:r>
            <a:r>
              <a:rPr lang="nl-NL" sz="2000" dirty="0"/>
              <a:t> ____________.</a:t>
            </a:r>
          </a:p>
          <a:p>
            <a:endParaRPr lang="nl-NL" sz="2000" dirty="0"/>
          </a:p>
          <a:p>
            <a:pPr fontAlgn="base"/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2. automatic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unnamed</a:t>
            </a:r>
            <a:r>
              <a:rPr lang="nl-NL" sz="2000" dirty="0"/>
              <a:t>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3221749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443841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  <a:p>
            <a:endParaRPr lang="nl-NL" sz="2800" dirty="0"/>
          </a:p>
          <a:p>
            <a:r>
              <a:rPr lang="nl-NL" sz="2800" dirty="0" err="1"/>
              <a:t>Consist</a:t>
            </a:r>
            <a:r>
              <a:rPr lang="nl-NL" sz="2800" dirty="0"/>
              <a:t> of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</a:t>
            </a:r>
            <a:r>
              <a:rPr lang="nl-NL" sz="2800" dirty="0"/>
              <a:t> interface / abstract class </a:t>
            </a:r>
            <a:r>
              <a:rPr lang="nl-NL" sz="2800" dirty="0" err="1"/>
              <a:t>decrib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y</a:t>
            </a:r>
            <a:r>
              <a:rPr lang="nl-NL" sz="2800" dirty="0"/>
              <a:t> classes </a:t>
            </a:r>
            <a:r>
              <a:rPr lang="nl-NL" sz="2800" dirty="0" err="1"/>
              <a:t>the</a:t>
            </a:r>
            <a:r>
              <a:rPr lang="nl-NL" sz="2800" dirty="0"/>
              <a:t> interface </a:t>
            </a:r>
            <a:r>
              <a:rPr lang="nl-NL" sz="2800" dirty="0" err="1"/>
              <a:t>references</a:t>
            </a: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some</a:t>
            </a:r>
            <a:r>
              <a:rPr lang="nl-NL" sz="2800" dirty="0"/>
              <a:t> </a:t>
            </a:r>
            <a:r>
              <a:rPr lang="nl-NL" sz="2800" dirty="0" err="1"/>
              <a:t>method</a:t>
            </a:r>
            <a:r>
              <a:rPr lang="nl-NL" sz="2800" dirty="0"/>
              <a:t> of </a:t>
            </a:r>
            <a:r>
              <a:rPr lang="nl-NL" sz="2800" dirty="0" err="1"/>
              <a:t>looking</a:t>
            </a:r>
            <a:r>
              <a:rPr lang="nl-NL" sz="2800" dirty="0"/>
              <a:t> up </a:t>
            </a:r>
            <a:r>
              <a:rPr lang="nl-NL" sz="2800" dirty="0" err="1"/>
              <a:t>implementations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implementation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part of </a:t>
            </a:r>
            <a:r>
              <a:rPr lang="nl-NL" sz="2800" dirty="0" err="1"/>
              <a:t>the</a:t>
            </a:r>
            <a:r>
              <a:rPr lang="nl-NL" sz="2800" dirty="0"/>
              <a:t> service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80985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09601" y="1172438"/>
            <a:ext cx="106905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93E02346-6A64-E640-BB14-013889E52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02552"/>
              </p:ext>
            </p:extLst>
          </p:nvPr>
        </p:nvGraphicFramePr>
        <p:xfrm>
          <a:off x="1890890" y="1929270"/>
          <a:ext cx="8127999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73350241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1059263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5194453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Artifact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Part of servi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irectives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required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5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665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provid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8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</a:t>
                      </a:r>
                      <a:r>
                        <a:rPr lang="nl-NL" dirty="0" err="1"/>
                        <a:t>locator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, </a:t>
                      </a:r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us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981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Consu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074533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DEB678F-5EE7-8F4F-91C5-DCADD2944150}"/>
              </a:ext>
            </a:extLst>
          </p:cNvPr>
          <p:cNvSpPr txBox="1"/>
          <p:nvPr/>
        </p:nvSpPr>
        <p:spPr>
          <a:xfrm>
            <a:off x="1315156" y="4165600"/>
            <a:ext cx="92794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Important </a:t>
            </a:r>
            <a:r>
              <a:rPr lang="nl-NL" dirty="0" err="1"/>
              <a:t>methods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erviceLoader</a:t>
            </a:r>
            <a:r>
              <a:rPr lang="nl-NL" dirty="0"/>
              <a:t> (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am</a:t>
            </a:r>
            <a:r>
              <a:rPr lang="nl-NL" dirty="0"/>
              <a:t>):</a:t>
            </a:r>
          </a:p>
          <a:p>
            <a:endParaRPr lang="nl-NL" dirty="0"/>
          </a:p>
          <a:p>
            <a:r>
              <a:rPr lang="nl-NL" dirty="0"/>
              <a:t>	public </a:t>
            </a:r>
            <a:r>
              <a:rPr lang="nl-NL" dirty="0" err="1"/>
              <a:t>static</a:t>
            </a:r>
            <a:r>
              <a:rPr lang="nl-NL" dirty="0"/>
              <a:t> &lt;S&gt; </a:t>
            </a:r>
            <a:r>
              <a:rPr lang="nl-NL" dirty="0" err="1"/>
              <a:t>ServiceLoader</a:t>
            </a:r>
            <a:r>
              <a:rPr lang="nl-NL" dirty="0"/>
              <a:t>&lt;S&gt; load(Class&lt;S&gt; service) { … }</a:t>
            </a:r>
          </a:p>
          <a:p>
            <a:r>
              <a:rPr lang="nl-NL" dirty="0"/>
              <a:t> </a:t>
            </a:r>
          </a:p>
          <a:p>
            <a:r>
              <a:rPr lang="nl-NL" dirty="0"/>
              <a:t>	public Stream&lt;Provider&lt;S&gt;&gt; stream() { … }</a:t>
            </a:r>
          </a:p>
        </p:txBody>
      </p:sp>
    </p:spTree>
    <p:extLst>
      <p:ext uri="{BB962C8B-B14F-4D97-AF65-F5344CB8AC3E}">
        <p14:creationId xmlns:p14="http://schemas.microsoft.com/office/powerpoint/2010/main" val="27923668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3341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699911" y="1950930"/>
            <a:ext cx="2908151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070411" y="1950930"/>
            <a:ext cx="4036155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us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4549422" y="4294738"/>
            <a:ext cx="7078134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provid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.ProDev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5E29E0D-603A-134E-8A7D-BED31CB14221}"/>
              </a:ext>
            </a:extLst>
          </p:cNvPr>
          <p:cNvSpPr txBox="1"/>
          <p:nvPr/>
        </p:nvSpPr>
        <p:spPr>
          <a:xfrm>
            <a:off x="699911" y="3899351"/>
            <a:ext cx="3172177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company</a:t>
            </a: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company;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/>
          <p:nvPr/>
        </p:nvCxnSpPr>
        <p:spPr bwMode="auto">
          <a:xfrm flipH="1">
            <a:off x="3646311" y="2472267"/>
            <a:ext cx="24241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774D6205-EFCA-A043-ADAA-D5C178C65835}"/>
              </a:ext>
            </a:extLst>
          </p:cNvPr>
          <p:cNvCxnSpPr/>
          <p:nvPr/>
        </p:nvCxnSpPr>
        <p:spPr bwMode="auto">
          <a:xfrm flipV="1">
            <a:off x="1715911" y="2874260"/>
            <a:ext cx="0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DD83C829-26B6-9D4E-8A16-F2FA397816F1}"/>
              </a:ext>
            </a:extLst>
          </p:cNvPr>
          <p:cNvCxnSpPr/>
          <p:nvPr/>
        </p:nvCxnSpPr>
        <p:spPr bwMode="auto">
          <a:xfrm flipV="1">
            <a:off x="2856089" y="2874260"/>
            <a:ext cx="3214322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>
            <a:off x="7247467" y="3428258"/>
            <a:ext cx="0" cy="8664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/>
          <p:nvPr/>
        </p:nvCxnSpPr>
        <p:spPr bwMode="auto">
          <a:xfrm flipH="1" flipV="1">
            <a:off x="3420533" y="2874260"/>
            <a:ext cx="1128889" cy="13364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14:cNvPr>
              <p14:cNvContentPartPr/>
              <p14:nvPr/>
            </p14:nvContentPartPr>
            <p14:xfrm>
              <a:off x="354973" y="1362924"/>
              <a:ext cx="10812600" cy="2473200"/>
            </p14:xfrm>
          </p:contentPart>
        </mc:Choice>
        <mc:Fallback xmlns="">
          <p:pic>
            <p:nvPicPr>
              <p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1973" y="1300284"/>
                <a:ext cx="10938240" cy="259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14:cNvPr>
              <p14:cNvContentPartPr/>
              <p14:nvPr/>
            </p14:nvContentPartPr>
            <p14:xfrm>
              <a:off x="4408573" y="3837924"/>
              <a:ext cx="7428240" cy="2443320"/>
            </p14:xfrm>
          </p:contentPart>
        </mc:Choice>
        <mc:Fallback xmlns="">
          <p:pic>
            <p:nvPicPr>
              <p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45933" y="3774924"/>
                <a:ext cx="7553880" cy="25689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kstvak 29">
            <a:extLst>
              <a:ext uri="{FF2B5EF4-FFF2-40B4-BE49-F238E27FC236}">
                <a16:creationId xmlns:a16="http://schemas.microsoft.com/office/drawing/2014/main" id="{209F4007-54DA-CB4F-9AAE-14B1123ED48C}"/>
              </a:ext>
            </a:extLst>
          </p:cNvPr>
          <p:cNvSpPr txBox="1"/>
          <p:nvPr/>
        </p:nvSpPr>
        <p:spPr>
          <a:xfrm>
            <a:off x="7089421" y="1012356"/>
            <a:ext cx="135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Service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8A8B42D5-92F3-2F4A-A03C-3C881635E41D}"/>
              </a:ext>
            </a:extLst>
          </p:cNvPr>
          <p:cNvSpPr txBox="1"/>
          <p:nvPr/>
        </p:nvSpPr>
        <p:spPr>
          <a:xfrm>
            <a:off x="7394222" y="6249312"/>
            <a:ext cx="2082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Implement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0" grpId="0"/>
      <p:bldP spid="3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definition</a:t>
            </a:r>
            <a:r>
              <a:rPr lang="nl-NL" sz="2800" dirty="0"/>
              <a:t>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268455" y="2921168"/>
            <a:ext cx="9010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600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4721485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pairs make up a service?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Consumer </a:t>
            </a:r>
            <a:r>
              <a:rPr lang="nl-NL" sz="2000" dirty="0" err="1"/>
              <a:t>and</a:t>
            </a:r>
            <a:r>
              <a:rPr lang="nl-NL" sz="2000" dirty="0"/>
              <a:t> service </a:t>
            </a:r>
            <a:r>
              <a:rPr lang="nl-NL" sz="2000" dirty="0" err="1"/>
              <a:t>locator</a:t>
            </a:r>
            <a:endParaRPr lang="nl-NL" sz="2000" dirty="0"/>
          </a:p>
          <a:p>
            <a:pPr fontAlgn="base"/>
            <a:r>
              <a:rPr lang="nl-NL" sz="2000" dirty="0"/>
              <a:t>2. Consum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3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</a:t>
            </a:r>
          </a:p>
          <a:p>
            <a:pPr fontAlgn="base"/>
            <a:r>
              <a:rPr lang="nl-NL" sz="2000" dirty="0"/>
              <a:t>4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5. Service provid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02132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4</a:t>
            </a:r>
          </a:p>
        </p:txBody>
      </p:sp>
    </p:spTree>
    <p:extLst>
      <p:ext uri="{BB962C8B-B14F-4D97-AF65-F5344CB8AC3E}">
        <p14:creationId xmlns:p14="http://schemas.microsoft.com/office/powerpoint/2010/main" val="3764633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separate modules </a:t>
            </a:r>
            <a:r>
              <a:rPr lang="nl-NL" sz="2000" dirty="0" err="1"/>
              <a:t>for</a:t>
            </a:r>
            <a:r>
              <a:rPr lang="nl-NL" sz="2000" dirty="0"/>
              <a:t> a service provider interface, service provider, service </a:t>
            </a:r>
            <a:r>
              <a:rPr lang="nl-NL" sz="2000" dirty="0" err="1"/>
              <a:t>locator</a:t>
            </a:r>
            <a:r>
              <a:rPr lang="nl-NL" sz="2000" dirty="0"/>
              <a:t>,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consumer</a:t>
            </a:r>
            <a:r>
              <a:rPr lang="nl-NL" sz="2000" dirty="0"/>
              <a:t>. </a:t>
            </a:r>
            <a:r>
              <a:rPr lang="nl-NL" sz="2000" dirty="0" err="1"/>
              <a:t>If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add</a:t>
            </a:r>
            <a:r>
              <a:rPr lang="nl-NL" sz="2000" dirty="0"/>
              <a:t> a second service provider module, </a:t>
            </a:r>
            <a:r>
              <a:rPr lang="nl-NL" sz="2000" dirty="0" err="1"/>
              <a:t>how</a:t>
            </a:r>
            <a:r>
              <a:rPr lang="nl-NL" sz="2000" dirty="0"/>
              <a:t> </a:t>
            </a:r>
            <a:r>
              <a:rPr lang="nl-NL" sz="2000" dirty="0" err="1"/>
              <a:t>many</a:t>
            </a:r>
            <a:r>
              <a:rPr lang="nl-NL" sz="2000" dirty="0"/>
              <a:t> of these modules do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recompile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The </a:t>
            </a:r>
            <a:r>
              <a:rPr lang="nl-NL" sz="2000" dirty="0" err="1"/>
              <a:t>whole</a:t>
            </a:r>
            <a:r>
              <a:rPr lang="nl-NL" sz="2000" dirty="0"/>
              <a:t> JDK + </a:t>
            </a:r>
            <a:r>
              <a:rPr lang="nl-NL" sz="2000" dirty="0" err="1"/>
              <a:t>all</a:t>
            </a:r>
            <a:r>
              <a:rPr lang="nl-NL" sz="2000" dirty="0"/>
              <a:t> these modules</a:t>
            </a:r>
          </a:p>
          <a:p>
            <a:pPr fontAlgn="base"/>
            <a:r>
              <a:rPr lang="nl-NL" sz="2000" dirty="0"/>
              <a:t>2. </a:t>
            </a:r>
            <a:r>
              <a:rPr lang="nl-NL" sz="2000" dirty="0" err="1"/>
              <a:t>Four</a:t>
            </a:r>
            <a:endParaRPr lang="nl-NL" sz="2000" dirty="0"/>
          </a:p>
          <a:p>
            <a:pPr fontAlgn="base"/>
            <a:r>
              <a:rPr lang="nl-NL" sz="2000" dirty="0"/>
              <a:t>3. Three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Two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One</a:t>
            </a:r>
            <a:endParaRPr lang="nl-NL" sz="2000" dirty="0"/>
          </a:p>
          <a:p>
            <a:pPr fontAlgn="base"/>
            <a:r>
              <a:rPr lang="nl-NL" sz="2000" dirty="0"/>
              <a:t>6. Zero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44054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</p:spTree>
    <p:extLst>
      <p:ext uri="{BB962C8B-B14F-4D97-AF65-F5344CB8AC3E}">
        <p14:creationId xmlns:p14="http://schemas.microsoft.com/office/powerpoint/2010/main" val="332388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62716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2577401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are </a:t>
            </a:r>
            <a:r>
              <a:rPr lang="nl-NL" sz="2000" dirty="0" err="1"/>
              <a:t>creating</a:t>
            </a:r>
            <a:r>
              <a:rPr lang="nl-NL" sz="2000" dirty="0"/>
              <a:t> a service provider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contains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class. </a:t>
            </a:r>
            <a:r>
              <a:rPr lang="nl-NL" sz="2000" dirty="0" err="1"/>
              <a:t>Which</a:t>
            </a:r>
            <a:r>
              <a:rPr lang="nl-NL" sz="2000" dirty="0"/>
              <a:t> line of code </a:t>
            </a:r>
            <a:r>
              <a:rPr lang="nl-NL" sz="2000" dirty="0" err="1"/>
              <a:t>needs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310896" y="2811012"/>
            <a:ext cx="530352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ackage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.*; 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Developer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public String produce()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	return ”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m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clean code"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A3064E4-D8E0-B343-8C23-4E47EE433FA7}"/>
              </a:ext>
            </a:extLst>
          </p:cNvPr>
          <p:cNvSpPr txBox="1"/>
          <p:nvPr/>
        </p:nvSpPr>
        <p:spPr>
          <a:xfrm>
            <a:off x="5614416" y="2944886"/>
            <a:ext cx="60807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6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56521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compile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is equivalent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loop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1405089" y="2789945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= new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.ad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230170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479376" y="936492"/>
            <a:ext cx="730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BB96475-BCBE-5F4B-A69D-8C9A6A27B17C}"/>
              </a:ext>
            </a:extLst>
          </p:cNvPr>
          <p:cNvSpPr txBox="1"/>
          <p:nvPr/>
        </p:nvSpPr>
        <p:spPr>
          <a:xfrm>
            <a:off x="479376" y="1809324"/>
            <a:ext cx="85679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E1A9FBC-1FFB-F144-AFA4-44657E5FB3EE}"/>
              </a:ext>
            </a:extLst>
          </p:cNvPr>
          <p:cNvSpPr txBox="1"/>
          <p:nvPr/>
        </p:nvSpPr>
        <p:spPr>
          <a:xfrm>
            <a:off x="479376" y="2724538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67B20D73-5472-6346-9F1E-10A833CBCC90}"/>
              </a:ext>
            </a:extLst>
          </p:cNvPr>
          <p:cNvSpPr txBox="1"/>
          <p:nvPr/>
        </p:nvSpPr>
        <p:spPr>
          <a:xfrm>
            <a:off x="479376" y="3808812"/>
            <a:ext cx="85679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88FBE683-C059-9846-8AE4-3C5F55EBF311}"/>
              </a:ext>
            </a:extLst>
          </p:cNvPr>
          <p:cNvSpPr txBox="1"/>
          <p:nvPr/>
        </p:nvSpPr>
        <p:spPr>
          <a:xfrm>
            <a:off x="479376" y="4954943"/>
            <a:ext cx="8567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None of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bov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85E1DA82-2E13-C148-A619-2B252EC5A973}"/>
              </a:ext>
            </a:extLst>
          </p:cNvPr>
          <p:cNvSpPr txBox="1"/>
          <p:nvPr/>
        </p:nvSpPr>
        <p:spPr>
          <a:xfrm>
            <a:off x="479376" y="552424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3</a:t>
            </a:r>
          </a:p>
        </p:txBody>
      </p:sp>
    </p:spTree>
    <p:extLst>
      <p:ext uri="{BB962C8B-B14F-4D97-AF65-F5344CB8AC3E}">
        <p14:creationId xmlns:p14="http://schemas.microsoft.com/office/powerpoint/2010/main" val="259269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59757" y="900121"/>
            <a:ext cx="1056768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are </a:t>
            </a:r>
            <a:r>
              <a:rPr lang="nl-NL" sz="2000" dirty="0" err="1"/>
              <a:t>true</a:t>
            </a:r>
            <a:r>
              <a:rPr lang="nl-NL" sz="2000" dirty="0"/>
              <a:t> statements </a:t>
            </a:r>
            <a:r>
              <a:rPr lang="nl-NL" sz="2000" dirty="0" err="1"/>
              <a:t>about</a:t>
            </a:r>
            <a:r>
              <a:rPr lang="nl-NL" sz="2000" dirty="0"/>
              <a:t> a package in a JAR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containing</a:t>
            </a:r>
            <a:r>
              <a:rPr lang="nl-NL" sz="2000" dirty="0"/>
              <a:t> a module‐info file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sure</a:t>
            </a:r>
            <a:r>
              <a:rPr lang="nl-NL" sz="2000" dirty="0"/>
              <a:t> </a:t>
            </a:r>
            <a:r>
              <a:rPr lang="nl-NL" sz="2000" dirty="0" err="1"/>
              <a:t>it</a:t>
            </a:r>
            <a:r>
              <a:rPr lang="nl-NL" sz="2000" dirty="0"/>
              <a:t> is </a:t>
            </a: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ny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59757" y="4917963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3857298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we have a JAR file </a:t>
            </a:r>
            <a:r>
              <a:rPr lang="nl-NL" sz="2000" dirty="0" err="1"/>
              <a:t>named</a:t>
            </a:r>
            <a:r>
              <a:rPr lang="nl-NL" sz="2000" dirty="0"/>
              <a:t> cat‐1.2.3‐RC1.jar </a:t>
            </a:r>
            <a:r>
              <a:rPr lang="nl-NL" sz="2000" dirty="0" err="1"/>
              <a:t>and</a:t>
            </a:r>
            <a:r>
              <a:rPr lang="nl-NL" sz="2000" dirty="0"/>
              <a:t> Automatic‐Module‐Name in </a:t>
            </a:r>
            <a:r>
              <a:rPr lang="nl-NL" sz="2000" dirty="0" err="1"/>
              <a:t>the</a:t>
            </a:r>
            <a:r>
              <a:rPr lang="nl-NL" sz="2000" dirty="0"/>
              <a:t> MANIFEST.MF is set </a:t>
            </a:r>
            <a:r>
              <a:rPr lang="nl-NL" sz="2000" dirty="0" err="1"/>
              <a:t>to</a:t>
            </a:r>
            <a:r>
              <a:rPr lang="nl-NL" sz="2000" dirty="0"/>
              <a:t> dog. </a:t>
            </a:r>
            <a:r>
              <a:rPr lang="nl-NL" sz="2000" dirty="0" err="1"/>
              <a:t>What</a:t>
            </a:r>
            <a:r>
              <a:rPr lang="nl-NL" sz="2000" dirty="0"/>
              <a:t> </a:t>
            </a:r>
            <a:r>
              <a:rPr lang="nl-NL" sz="2000" dirty="0" err="1"/>
              <a:t>should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unnamed</a:t>
            </a:r>
            <a:r>
              <a:rPr lang="nl-NL" sz="2000" dirty="0"/>
              <a:t> module </a:t>
            </a:r>
            <a:r>
              <a:rPr lang="nl-NL" sz="2000" dirty="0" err="1"/>
              <a:t>referencing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automatic module </a:t>
            </a:r>
            <a:r>
              <a:rPr lang="nl-NL" sz="2000" dirty="0" err="1"/>
              <a:t>include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;</a:t>
            </a:r>
          </a:p>
          <a:p>
            <a:r>
              <a:rPr lang="nl-NL" sz="2000" dirty="0"/>
              <a:t>2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.RC</a:t>
            </a:r>
            <a:r>
              <a:rPr lang="nl-NL" sz="2000" dirty="0"/>
              <a:t>;</a:t>
            </a:r>
          </a:p>
          <a:p>
            <a:r>
              <a:rPr lang="nl-NL" sz="2000" dirty="0"/>
              <a:t>3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‐RC;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dog;</a:t>
            </a:r>
          </a:p>
          <a:p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 </a:t>
            </a:r>
          </a:p>
        </p:txBody>
      </p:sp>
    </p:spTree>
    <p:extLst>
      <p:ext uri="{BB962C8B-B14F-4D97-AF65-F5344CB8AC3E}">
        <p14:creationId xmlns:p14="http://schemas.microsoft.com/office/powerpoint/2010/main" val="2591111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Link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1319042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Example</a:t>
            </a:r>
            <a:r>
              <a:rPr lang="nl-NL" sz="2800" b="1" dirty="0"/>
              <a:t> code </a:t>
            </a:r>
            <a:r>
              <a:rPr lang="nl-NL" sz="2800" b="1" dirty="0" err="1"/>
              <a:t>and</a:t>
            </a:r>
            <a:r>
              <a:rPr lang="nl-NL" sz="2800" b="1" dirty="0"/>
              <a:t> </a:t>
            </a:r>
            <a:r>
              <a:rPr lang="nl-NL" sz="2800" b="1" dirty="0" err="1"/>
              <a:t>presentation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6C672347-1DAB-2B4E-9B55-F29AE5CAEA86}"/>
              </a:ext>
            </a:extLst>
          </p:cNvPr>
          <p:cNvSpPr txBox="1"/>
          <p:nvPr/>
        </p:nvSpPr>
        <p:spPr>
          <a:xfrm>
            <a:off x="460375" y="2619373"/>
            <a:ext cx="114058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hlinkClick r:id="rId3"/>
              </a:rPr>
              <a:t>Presentation and Demo OCP CH17</a:t>
            </a:r>
          </a:p>
          <a:p>
            <a:endParaRPr lang="nl-NL" dirty="0">
              <a:hlinkClick r:id="rId3"/>
            </a:endParaRPr>
          </a:p>
          <a:p>
            <a:r>
              <a:rPr lang="nl-NL" dirty="0">
                <a:hlinkClick r:id="rId3"/>
              </a:rPr>
              <a:t>https://p-bitbucket.nl.eu.abnamro.com:7999/projects/COESD/repos/java-triangle/browse/ocp/chapter17</a:t>
            </a:r>
            <a:endParaRPr lang="nl-NL" dirty="0"/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Demo Module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endParaRPr lang="nl-NL" dirty="0"/>
          </a:p>
          <a:p>
            <a:r>
              <a:rPr lang="nl-NL" dirty="0" err="1"/>
              <a:t>https</a:t>
            </a:r>
            <a:r>
              <a:rPr lang="nl-NL" dirty="0"/>
              <a:t>://p-bitbucket.nl.eu.abnamro.com:7999/</a:t>
            </a:r>
            <a:r>
              <a:rPr lang="nl-NL" dirty="0" err="1"/>
              <a:t>projects</a:t>
            </a:r>
            <a:r>
              <a:rPr lang="nl-NL" dirty="0"/>
              <a:t>/COESD/</a:t>
            </a:r>
            <a:r>
              <a:rPr lang="nl-NL" dirty="0" err="1"/>
              <a:t>repos</a:t>
            </a:r>
            <a:r>
              <a:rPr lang="nl-NL" dirty="0"/>
              <a:t>/</a:t>
            </a:r>
            <a:r>
              <a:rPr lang="nl-NL" dirty="0" err="1"/>
              <a:t>java-triangle</a:t>
            </a:r>
            <a:r>
              <a:rPr lang="nl-NL" dirty="0"/>
              <a:t>/browse/modules-</a:t>
            </a:r>
            <a:r>
              <a:rPr lang="nl-NL" dirty="0" err="1"/>
              <a:t>and</a:t>
            </a:r>
            <a:r>
              <a:rPr lang="nl-NL" dirty="0"/>
              <a:t>-</a:t>
            </a:r>
            <a:r>
              <a:rPr lang="nl-NL" dirty="0" err="1"/>
              <a:t>injec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2657026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2434549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 </a:t>
            </a:r>
            <a:r>
              <a:rPr lang="nl-NL" sz="2800" dirty="0" err="1"/>
              <a:t>to</a:t>
            </a:r>
            <a:r>
              <a:rPr lang="nl-NL" sz="2800" dirty="0"/>
              <a:t> &lt;modul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a </a:t>
            </a:r>
            <a:r>
              <a:rPr lang="nl-NL" sz="2800" dirty="0" err="1"/>
              <a:t>specific</a:t>
            </a:r>
            <a:r>
              <a:rPr lang="nl-NL" sz="2800" dirty="0"/>
              <a:t> module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[</a:t>
            </a:r>
            <a:r>
              <a:rPr lang="nl-NL" sz="2800" dirty="0" err="1"/>
              <a:t>transitive</a:t>
            </a:r>
            <a:r>
              <a:rPr lang="nl-NL" sz="2800" dirty="0"/>
              <a:t>]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stuff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member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r>
              <a:rPr lang="nl-NL" sz="2800" dirty="0"/>
              <a:t> line tool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argument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9409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 Types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Named</a:t>
            </a:r>
            <a:r>
              <a:rPr lang="nl-NL" sz="2800" dirty="0"/>
              <a:t> module : a (proper) </a:t>
            </a:r>
            <a:r>
              <a:rPr lang="nl-NL" sz="2800" dirty="0" err="1"/>
              <a:t>java</a:t>
            </a:r>
            <a:r>
              <a:rPr lang="nl-NL" sz="2800" dirty="0"/>
              <a:t>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utomatic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nnamed</a:t>
            </a:r>
            <a:r>
              <a:rPr lang="nl-NL" sz="2800" dirty="0"/>
              <a:t>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455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(proper) </a:t>
            </a:r>
            <a:r>
              <a:rPr lang="nl-NL" sz="2800" dirty="0" err="1"/>
              <a:t>java</a:t>
            </a:r>
            <a:r>
              <a:rPr lang="nl-NL" sz="2800" dirty="0"/>
              <a:t> module, </a:t>
            </a:r>
            <a:r>
              <a:rPr lang="nl-NL" sz="2800" dirty="0" err="1"/>
              <a:t>with</a:t>
            </a:r>
            <a:r>
              <a:rPr lang="nl-NL" sz="2800" dirty="0"/>
              <a:t> module-info file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Module name is in </a:t>
            </a:r>
            <a:r>
              <a:rPr lang="nl-NL" sz="2800" dirty="0" err="1"/>
              <a:t>the</a:t>
            </a:r>
            <a:r>
              <a:rPr lang="nl-NL" sz="2800" dirty="0"/>
              <a:t> module-info fi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405437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3366</TotalTime>
  <Words>3319</Words>
  <Application>Microsoft Macintosh PowerPoint</Application>
  <PresentationFormat>Breedbeeld</PresentationFormat>
  <Paragraphs>454</Paragraphs>
  <Slides>42</Slides>
  <Notes>35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2</vt:i4>
      </vt:variant>
      <vt:variant>
        <vt:lpstr>Thema</vt:lpstr>
      </vt:variant>
      <vt:variant>
        <vt:i4>8</vt:i4>
      </vt:variant>
      <vt:variant>
        <vt:lpstr>Diatitels</vt:lpstr>
      </vt:variant>
      <vt:variant>
        <vt:i4>42</vt:i4>
      </vt:variant>
    </vt:vector>
  </HeadingPairs>
  <TitlesOfParts>
    <vt:vector size="62" baseType="lpstr">
      <vt:lpstr>.HelveticaNeueDeskInterface-Regular</vt:lpstr>
      <vt:lpstr>Arial</vt:lpstr>
      <vt:lpstr>Calibri</vt:lpstr>
      <vt:lpstr>Circular Pro Bold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7 </vt:lpstr>
      <vt:lpstr>Introduction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Java Modules General</vt:lpstr>
      <vt:lpstr>Links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101</cp:revision>
  <cp:lastPrinted>2020-03-03T11:37:57Z</cp:lastPrinted>
  <dcterms:created xsi:type="dcterms:W3CDTF">2016-08-26T22:19:40Z</dcterms:created>
  <dcterms:modified xsi:type="dcterms:W3CDTF">2021-11-23T08:27:26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